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Masters/notesMaster1.xml" ContentType="application/vnd.openxmlformats-officedocument.presentationml.notesMaster+xml"/>
  <Override PartName="/ppt/charts/colors1.xml" ContentType="application/vnd.ms-office.chartcolorstyle+xml"/>
  <Override PartName="/ppt/theme/theme1.xml" ContentType="application/vnd.openxmlformats-officedocument.theme+xml"/>
  <Override PartName="/ppt/theme/theme2.xml" ContentType="application/vnd.openxmlformats-officedocument.theme+xml"/>
  <Override PartName="/ppt/authors.xml" ContentType="application/vnd.ms-powerpoint.authors+xml"/>
  <Override PartName="/ppt/charts/chart1.xml" ContentType="application/vnd.openxmlformats-officedocument.drawingml.chart+xml"/>
  <Override PartName="/ppt/charts/style1.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Metadata/LabelInfo.xml" ContentType="application/vnd.ms-office.classificationlabels+xml"/>
  <Override PartName="/ppt/tags/tag12.xml" ContentType="application/vnd.openxmlformats-officedocument.presentationml.tags+xml"/>
  <Override PartName="/ppt/tags/tag11.xml" ContentType="application/vnd.openxmlformats-officedocument.presentationml.tags+xml"/>
  <Override PartName="/customXml/itemProps2.xml" ContentType="application/vnd.openxmlformats-officedocument.customXmlPropertie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customXml/itemProps3.xml" ContentType="application/vnd.openxmlformats-officedocument.customXmlProperties+xml"/>
  <Override PartName="/ppt/tags/tag7.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Override PartName="/ppt/tags/tag6.xml" ContentType="application/vnd.openxmlformats-officedocument.presentationml.tags+xml"/>
  <Override PartName="/customXml/itemProps6.xml" ContentType="application/vnd.openxmlformats-officedocument.customXmlProperties+xml"/>
  <Override PartName="/customXml/itemProps7.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revisionInfo.xml" ContentType="application/vnd.ms-powerpoint.revisioninfo+xml"/>
  <Override PartName="/ppt/tags/tag4.xml" ContentType="application/vnd.openxmlformats-officedocument.presentationml.tags+xml"/>
  <Override PartName="/ppt/tags/tag5.xml" ContentType="application/vnd.openxmlformats-officedocument.presentationml.tags+xml"/>
  <Override PartName="/ppt/tags/tag14.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3.xml" ContentType="application/vnd.openxmlformats-officedocument.presentationml.tags+xml"/>
  <Override PartName="/customXml/itemProps1.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ppt/tags/tag15.xml" ContentType="application/vnd.openxmlformats-officedocument.presentationml.tags+xml"/>
  <Override PartName="/docProps/custom.xml" ContentType="application/vnd.openxmlformats-officedocument.custom-properties+xml"/>
  <Override PartName="/customXml/itemProps8.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8"/>
  </p:sldMasterIdLst>
  <p:notesMasterIdLst>
    <p:notesMasterId r:id="rId21"/>
  </p:notesMasterIdLst>
  <p:sldIdLst>
    <p:sldId id="2147482088" r:id="rId9"/>
    <p:sldId id="2147483411" r:id="rId10"/>
    <p:sldId id="2147483414" r:id="rId11"/>
    <p:sldId id="280" r:id="rId12"/>
    <p:sldId id="2147483647" r:id="rId13"/>
    <p:sldId id="269" r:id="rId14"/>
    <p:sldId id="2147483421" r:id="rId15"/>
    <p:sldId id="2147483418" r:id="rId16"/>
    <p:sldId id="2147483424" r:id="rId17"/>
    <p:sldId id="2147483427" r:id="rId18"/>
    <p:sldId id="2147483430" r:id="rId19"/>
    <p:sldId id="214748210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490722-5853-6AD9-9C70-9EDBC47CA6D5}" name="Basnakajev, Timur-Ali" initials="TB" userId="S::tbasnakajev@deloitte.at::fa6a3f8e-2cc7-4638-bf72-ce2b66cb40c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57F84"/>
    <a:srgbClr val="38BDBD"/>
    <a:srgbClr val="A8CF62"/>
    <a:srgbClr val="86BC25"/>
    <a:srgbClr val="00ABAB"/>
    <a:srgbClr val="007CB0"/>
    <a:srgbClr val="14A2DD"/>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8FD00E-5C3B-4915-8B53-682F5BCA79B3}" v="780" dt="2025-09-29T13:23:43.231"/>
    <p1510:client id="{33BB9F3E-628F-490C-80CD-21F586FCD886}" v="1848" dt="2025-09-29T13:24:18.351"/>
    <p1510:client id="{C85F5A90-3C04-4B5D-852E-BC3230A33119}" v="3405" dt="2025-09-29T11:23:10.6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187" autoAdjust="0"/>
  </p:normalViewPr>
  <p:slideViewPr>
    <p:cSldViewPr snapToGrid="0">
      <p:cViewPr>
        <p:scale>
          <a:sx n="62" d="100"/>
          <a:sy n="62" d="100"/>
        </p:scale>
        <p:origin x="164" y="2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viewProps" Target="viewProps.xml"/><Relationship Id="rId28" Type="http://schemas.openxmlformats.org/officeDocument/2006/relationships/customXml" Target="../customXml/item8.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latin typeface="Aptos" panose="020B0004020202020204" pitchFamily="34" charset="0"/>
              </a:rPr>
              <a:t>Budget vs. </a:t>
            </a:r>
            <a:r>
              <a:rPr lang="en-US" err="1">
                <a:latin typeface="Aptos" panose="020B0004020202020204" pitchFamily="34" charset="0"/>
              </a:rPr>
              <a:t>Prioritäten</a:t>
            </a:r>
            <a:endParaRPr lang="en-US">
              <a:latin typeface="Aptos" panose="020B0004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0"/>
          <c:tx>
            <c:strRef>
              <c:f>Sheet1!$B$1</c:f>
              <c:strCache>
                <c:ptCount val="1"/>
                <c:pt idx="0">
                  <c:v>Budgethöhe</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130A-4890-9CED-03B7EFB5F7B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130A-4890-9CED-03B7EFB5F7BE}"/>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130A-4890-9CED-03B7EFB5F7BE}"/>
              </c:ext>
            </c:extLst>
          </c:dPt>
          <c:cat>
            <c:strRef>
              <c:f>Sheet1!$A$2:$A$4</c:f>
              <c:strCache>
                <c:ptCount val="3"/>
                <c:pt idx="0">
                  <c:v>Essenzielle Security-Maßnahmen</c:v>
                </c:pt>
                <c:pt idx="1">
                  <c:v>Nebenthemen / Prestigeprojekte</c:v>
                </c:pt>
                <c:pt idx="2">
                  <c:v>Awareness &amp; Training</c:v>
                </c:pt>
              </c:strCache>
            </c:strRef>
          </c:cat>
          <c:val>
            <c:numRef>
              <c:f>Sheet1!$B$2:$B$4</c:f>
              <c:numCache>
                <c:formatCode>General</c:formatCode>
                <c:ptCount val="3"/>
                <c:pt idx="0">
                  <c:v>10</c:v>
                </c:pt>
                <c:pt idx="1">
                  <c:v>60</c:v>
                </c:pt>
                <c:pt idx="2">
                  <c:v>30</c:v>
                </c:pt>
              </c:numCache>
            </c:numRef>
          </c:val>
          <c:extLst>
            <c:ext xmlns:c16="http://schemas.microsoft.com/office/drawing/2014/chart" uri="{C3380CC4-5D6E-409C-BE32-E72D297353CC}">
              <c16:uniqueId val="{00000006-130A-4890-9CED-03B7EFB5F7BE}"/>
            </c:ext>
          </c:extLst>
        </c:ser>
        <c:dLbls>
          <c:showLegendKey val="0"/>
          <c:showVal val="0"/>
          <c:showCatName val="0"/>
          <c:showSerName val="0"/>
          <c:showPercent val="0"/>
          <c:showBubbleSize val="0"/>
        </c:dLbls>
        <c:gapWidth val="219"/>
        <c:overlap val="-27"/>
        <c:axId val="780672512"/>
        <c:axId val="780671072"/>
      </c:barChart>
      <c:catAx>
        <c:axId val="780672512"/>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AT">
                    <a:latin typeface="Aptos" panose="020B0004020202020204" pitchFamily="34" charset="0"/>
                  </a:rPr>
                  <a:t>Prioritäten</a:t>
                </a:r>
              </a:p>
            </c:rich>
          </c:tx>
          <c:layout>
            <c:manualLayout>
              <c:xMode val="edge"/>
              <c:yMode val="edge"/>
              <c:x val="0.47363791393996491"/>
              <c:y val="0.88234821199458302"/>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780671072"/>
        <c:crosses val="autoZero"/>
        <c:auto val="1"/>
        <c:lblAlgn val="ctr"/>
        <c:lblOffset val="100"/>
        <c:noMultiLvlLbl val="0"/>
      </c:catAx>
      <c:valAx>
        <c:axId val="7806710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AT">
                    <a:latin typeface="Aptos" panose="020B0004020202020204" pitchFamily="34" charset="0"/>
                  </a:rPr>
                  <a:t>Budget</a:t>
                </a:r>
                <a:r>
                  <a:rPr lang="de-AT" baseline="0">
                    <a:latin typeface="Aptos" panose="020B0004020202020204" pitchFamily="34" charset="0"/>
                  </a:rPr>
                  <a:t> [%]</a:t>
                </a:r>
                <a:endParaRPr lang="de-AT">
                  <a:latin typeface="Aptos" panose="020B0004020202020204" pitchFamily="34" charset="0"/>
                </a:endParaRP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A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7806725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solidFill>
        <a:schemeClr val="accent1">
          <a:lumMod val="100000"/>
        </a:schemeClr>
      </a:solidFill>
      <a:prstDash val="solid"/>
      <a:round/>
      <a:headEnd type="none" w="med" len="med"/>
      <a:tailEnd type="none" w="med" len="med"/>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216B92-CC5E-4198-8464-77CFFAB7E940}" type="datetimeFigureOut">
              <a:rPr lang="de-AT" smtClean="0"/>
              <a:t>28.09.2025</a:t>
            </a:fld>
            <a:endParaRPr lang="de-A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86C736-78FB-4B37-BE58-22B6ECCF4BED}" type="slidenum">
              <a:rPr lang="de-AT" smtClean="0"/>
              <a:t>‹#›</a:t>
            </a:fld>
            <a:endParaRPr lang="de-AT"/>
          </a:p>
        </p:txBody>
      </p:sp>
    </p:spTree>
    <p:extLst>
      <p:ext uri="{BB962C8B-B14F-4D97-AF65-F5344CB8AC3E}">
        <p14:creationId xmlns:p14="http://schemas.microsoft.com/office/powerpoint/2010/main" val="4187904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a:p>
        </p:txBody>
      </p:sp>
      <p:sp>
        <p:nvSpPr>
          <p:cNvPr id="4" name="Slide Number Placeholder 3"/>
          <p:cNvSpPr>
            <a:spLocks noGrp="1"/>
          </p:cNvSpPr>
          <p:nvPr>
            <p:ph type="sldNum" sz="quarter" idx="5"/>
          </p:nvPr>
        </p:nvSpPr>
        <p:spPr/>
        <p:txBody>
          <a:bodyPr/>
          <a:lstStyle/>
          <a:p>
            <a:fld id="{C0F4A2C8-6C88-4E71-83EE-698B9D4FE22F}" type="slidenum">
              <a:rPr lang="en-US"/>
              <a:pPr/>
              <a:t>1</a:t>
            </a:fld>
            <a:endParaRPr lang="en-US"/>
          </a:p>
        </p:txBody>
      </p:sp>
    </p:spTree>
    <p:extLst>
      <p:ext uri="{BB962C8B-B14F-4D97-AF65-F5344CB8AC3E}">
        <p14:creationId xmlns:p14="http://schemas.microsoft.com/office/powerpoint/2010/main" val="1802869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3786C736-78FB-4B37-BE58-22B6ECCF4BED}" type="slidenum">
              <a:rPr lang="de-AT" smtClean="0"/>
              <a:t>10</a:t>
            </a:fld>
            <a:endParaRPr lang="de-AT"/>
          </a:p>
        </p:txBody>
      </p:sp>
    </p:spTree>
    <p:extLst>
      <p:ext uri="{BB962C8B-B14F-4D97-AF65-F5344CB8AC3E}">
        <p14:creationId xmlns:p14="http://schemas.microsoft.com/office/powerpoint/2010/main" val="3221440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 slides </a:t>
            </a:r>
            <a:r>
              <a:rPr lang="en-US" err="1"/>
              <a:t>machen</a:t>
            </a:r>
            <a:r>
              <a:rPr lang="en-US"/>
              <a:t>? </a:t>
            </a:r>
            <a:r>
              <a:rPr lang="en-US" err="1"/>
              <a:t>Mit</a:t>
            </a:r>
            <a:r>
              <a:rPr lang="en-US"/>
              <a:t> </a:t>
            </a:r>
            <a:r>
              <a:rPr lang="en-US" err="1"/>
              <a:t>karte</a:t>
            </a:r>
            <a:r>
              <a:rPr lang="en-US"/>
              <a:t> und icons auf </a:t>
            </a:r>
            <a:r>
              <a:rPr lang="en-US" err="1"/>
              <a:t>einer</a:t>
            </a:r>
            <a:r>
              <a:rPr lang="en-US"/>
              <a:t> slide und auf der </a:t>
            </a:r>
            <a:r>
              <a:rPr lang="en-US" err="1"/>
              <a:t>anderen</a:t>
            </a:r>
            <a:r>
              <a:rPr lang="en-US"/>
              <a:t> die </a:t>
            </a:r>
            <a:r>
              <a:rPr lang="en-US" err="1"/>
              <a:t>Kernpunkte</a:t>
            </a:r>
            <a:endParaRPr lang="de-AT"/>
          </a:p>
        </p:txBody>
      </p:sp>
      <p:sp>
        <p:nvSpPr>
          <p:cNvPr id="4" name="Slide Number Placeholder 3"/>
          <p:cNvSpPr>
            <a:spLocks noGrp="1"/>
          </p:cNvSpPr>
          <p:nvPr>
            <p:ph type="sldNum" sz="quarter" idx="5"/>
          </p:nvPr>
        </p:nvSpPr>
        <p:spPr/>
        <p:txBody>
          <a:bodyPr/>
          <a:lstStyle/>
          <a:p>
            <a:fld id="{3786C736-78FB-4B37-BE58-22B6ECCF4BED}" type="slidenum">
              <a:rPr lang="de-AT" smtClean="0"/>
              <a:t>11</a:t>
            </a:fld>
            <a:endParaRPr lang="de-AT"/>
          </a:p>
        </p:txBody>
      </p:sp>
    </p:spTree>
    <p:extLst>
      <p:ext uri="{BB962C8B-B14F-4D97-AF65-F5344CB8AC3E}">
        <p14:creationId xmlns:p14="http://schemas.microsoft.com/office/powerpoint/2010/main" val="5491759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8BE3FA52-B2E6-4680-8E75-6DF96D89C003}"/>
              </a:ext>
            </a:extLst>
          </p:cNvPr>
          <p:cNvSpPr>
            <a:spLocks noGrp="1"/>
          </p:cNvSpPr>
          <p:nvPr>
            <p:ph type="sldNum" sz="quarter" idx="5"/>
          </p:nvPr>
        </p:nvSpPr>
        <p:spPr/>
        <p:txBody>
          <a:bodyPr/>
          <a:lstStyle/>
          <a:p>
            <a:fld id="{C0F4A2C8-6C88-4E71-83EE-698B9D4FE22F}" type="slidenum">
              <a:rPr lang="en-US"/>
              <a:pPr/>
              <a:t>12</a:t>
            </a:fld>
            <a:endParaRPr lang="en-US"/>
          </a:p>
        </p:txBody>
      </p:sp>
    </p:spTree>
    <p:extLst>
      <p:ext uri="{BB962C8B-B14F-4D97-AF65-F5344CB8AC3E}">
        <p14:creationId xmlns:p14="http://schemas.microsoft.com/office/powerpoint/2010/main" val="236771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3786C736-78FB-4B37-BE58-22B6ECCF4BED}" type="slidenum">
              <a:rPr lang="de-AT" smtClean="0"/>
              <a:t>2</a:t>
            </a:fld>
            <a:endParaRPr lang="de-AT"/>
          </a:p>
        </p:txBody>
      </p:sp>
    </p:spTree>
    <p:extLst>
      <p:ext uri="{BB962C8B-B14F-4D97-AF65-F5344CB8AC3E}">
        <p14:creationId xmlns:p14="http://schemas.microsoft.com/office/powerpoint/2010/main" val="3986370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3786C736-78FB-4B37-BE58-22B6ECCF4BED}" type="slidenum">
              <a:rPr lang="de-AT" smtClean="0"/>
              <a:t>3</a:t>
            </a:fld>
            <a:endParaRPr lang="de-AT"/>
          </a:p>
        </p:txBody>
      </p:sp>
    </p:spTree>
    <p:extLst>
      <p:ext uri="{BB962C8B-B14F-4D97-AF65-F5344CB8AC3E}">
        <p14:creationId xmlns:p14="http://schemas.microsoft.com/office/powerpoint/2010/main" val="1871617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7993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86882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60590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3786C736-78FB-4B37-BE58-22B6ECCF4BED}" type="slidenum">
              <a:rPr lang="de-AT" smtClean="0"/>
              <a:t>7</a:t>
            </a:fld>
            <a:endParaRPr lang="de-AT"/>
          </a:p>
        </p:txBody>
      </p:sp>
    </p:spTree>
    <p:extLst>
      <p:ext uri="{BB962C8B-B14F-4D97-AF65-F5344CB8AC3E}">
        <p14:creationId xmlns:p14="http://schemas.microsoft.com/office/powerpoint/2010/main" val="144274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3786C736-78FB-4B37-BE58-22B6ECCF4BED}" type="slidenum">
              <a:rPr lang="de-AT" smtClean="0"/>
              <a:t>8</a:t>
            </a:fld>
            <a:endParaRPr lang="de-AT"/>
          </a:p>
        </p:txBody>
      </p:sp>
    </p:spTree>
    <p:extLst>
      <p:ext uri="{BB962C8B-B14F-4D97-AF65-F5344CB8AC3E}">
        <p14:creationId xmlns:p14="http://schemas.microsoft.com/office/powerpoint/2010/main" val="359684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3786C736-78FB-4B37-BE58-22B6ECCF4BED}" type="slidenum">
              <a:rPr lang="de-AT" smtClean="0"/>
              <a:t>9</a:t>
            </a:fld>
            <a:endParaRPr lang="de-AT"/>
          </a:p>
        </p:txBody>
      </p:sp>
    </p:spTree>
    <p:extLst>
      <p:ext uri="{BB962C8B-B14F-4D97-AF65-F5344CB8AC3E}">
        <p14:creationId xmlns:p14="http://schemas.microsoft.com/office/powerpoint/2010/main" val="24646919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7305873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6336564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6245273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0865555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46745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208170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0739389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101562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9706785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132887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42739186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75056192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787883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5366988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65012920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74393506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411587499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58997098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886430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8633874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324142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8366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87194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3719280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54122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5142160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4786591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083509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52992410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2052910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953205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4756459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0367120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02810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8808803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6344923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056614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63275233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142750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0405851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054692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915777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0857641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8500555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423438"/>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58016714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7899936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818794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2385129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10310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3D477EA3-26AE-43C0-AB9F-D946E74A41C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A1A2BB35-B8B3-422F-A495-1EAC6D62E1A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F94CAF7A-8D5E-42C0-B151-E5F48497DD2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E3437AE1-1B20-45D8-BB56-1CD769A48D4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C87ED61C-29A0-4841-8AD7-EDF64EC0F71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82035582-8257-40DB-9F14-F2F22BDBBE4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6839732-0240-48CA-BF6F-F9430D4491B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FB25319-33E0-467D-8A99-E977517BC9A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3BDC68C9-014D-4369-AB15-A89162B10D6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DFD1F96B-2A23-478E-A765-F72B99EE5E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7FFB714F-755C-4240-AC11-EE9E1A9B0E1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1924036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32377412"/>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8991717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29084213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7200" y="1678966"/>
            <a:ext cx="5486400" cy="4681728"/>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5760"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48640" indent="-182880"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31520"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hasCustomPrompt="1"/>
          </p:nvPr>
        </p:nvSpPr>
        <p:spPr>
          <a:xfrm>
            <a:off x="6250845" y="1678966"/>
            <a:ext cx="5495544" cy="4681728"/>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5760" indent="-179388" algn="l">
              <a:spcBef>
                <a:spcPts val="200"/>
              </a:spcBef>
              <a:spcAft>
                <a:spcPts val="200"/>
              </a:spcAft>
              <a:buClrTx/>
              <a:buSzPct val="100000"/>
              <a:buFont typeface="Arial" panose="020B0604020202020204" pitchFamily="34" charset="0"/>
              <a:buChar char="−"/>
              <a:tabLst>
                <a:tab pos="3771900" algn="r"/>
              </a:tabLst>
              <a:defRPr sz="1200"/>
            </a:lvl3pPr>
            <a:lvl4pPr marL="548640" indent="-182880" algn="l">
              <a:spcBef>
                <a:spcPts val="200"/>
              </a:spcBef>
              <a:spcAft>
                <a:spcPts val="200"/>
              </a:spcAft>
              <a:buClrTx/>
              <a:buSzPct val="100000"/>
              <a:buFont typeface="Arial" panose="020B0604020202020204" pitchFamily="34" charset="0"/>
              <a:buChar char="◦"/>
              <a:tabLst>
                <a:tab pos="3771900" algn="r"/>
              </a:tabLst>
              <a:defRPr sz="1200"/>
            </a:lvl4pPr>
            <a:lvl5pPr marL="73152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7200" y="684000"/>
            <a:ext cx="11274552"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7200" y="345992"/>
            <a:ext cx="11274552"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213165048"/>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200211878"/>
      </p:ext>
    </p:extLst>
  </p:cSld>
  <p:clrMapOvr>
    <a:masterClrMapping/>
  </p:clrMapOvr>
  <p:transition>
    <p:fade/>
  </p:transition>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ivider slide with im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1800" b="0">
                <a:latin typeface="Open Sans" panose="020B0606030504020204"/>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2800" b="1">
                <a:latin typeface="Open Sans" panose="020B0606030504020204"/>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3828079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85389300"/>
      </p:ext>
    </p:extLst>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9449552"/>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8716024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2"/>
            </p:custDataLst>
            <p:extLst>
              <p:ext uri="{D42A27DB-BD31-4B8C-83A1-F6EECF244321}">
                <p14:modId xmlns:p14="http://schemas.microsoft.com/office/powerpoint/2010/main" val="15340932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3" imgW="270" imgH="270" progId="TCLayout.ActiveDocument.1">
                  <p:embed/>
                </p:oleObj>
              </mc:Choice>
              <mc:Fallback>
                <p:oleObj name="think-cell Slide" r:id="rId63" imgW="270" imgH="270" progId="TCLayout.ActiveDocument.1">
                  <p:embed/>
                  <p:pic>
                    <p:nvPicPr>
                      <p:cNvPr id="4" name="Object 3" hidden="1"/>
                      <p:cNvPicPr/>
                      <p:nvPr/>
                    </p:nvPicPr>
                    <p:blipFill>
                      <a:blip r:embed="rId6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de-AT" sz="900" b="0" i="0">
                <a:solidFill>
                  <a:srgbClr val="D2D0CE"/>
                </a:solidFill>
                <a:effectLst/>
                <a:latin typeface="-apple-system"/>
              </a:rPr>
              <a:t>© </a:t>
            </a:r>
            <a:r>
              <a:rPr lang="en-US" sz="900" noProof="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212959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 id="2147483729" r:id="rId56"/>
    <p:sldLayoutId id="2147483730" r:id="rId57"/>
    <p:sldLayoutId id="2147483672" r:id="rId58"/>
    <p:sldLayoutId id="2147483734" r:id="rId59"/>
    <p:sldLayoutId id="2147483735" r:id="rId6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customXml" Target="../../customXml/item3.xml"/><Relationship Id="rId1" Type="http://schemas.openxmlformats.org/officeDocument/2006/relationships/customXml" Target="../../customXml/item4.xml"/><Relationship Id="rId6" Type="http://schemas.openxmlformats.org/officeDocument/2006/relationships/image" Target="../media/image3.jpe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9.xml"/><Relationship Id="rId1" Type="http://schemas.openxmlformats.org/officeDocument/2006/relationships/tags" Target="../tags/tag16.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9.xml"/><Relationship Id="rId1" Type="http://schemas.openxmlformats.org/officeDocument/2006/relationships/tags" Target="../tags/tag17.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customXml" Target="../../customXml/item5.xml"/><Relationship Id="rId1" Type="http://schemas.openxmlformats.org/officeDocument/2006/relationships/customXml" Target="../../customXml/item6.xml"/><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2.xml"/><Relationship Id="rId7" Type="http://schemas.openxmlformats.org/officeDocument/2006/relationships/hyperlink" Target="mailto:xyz@deloitte.at" TargetMode="External"/><Relationship Id="rId2" Type="http://schemas.openxmlformats.org/officeDocument/2006/relationships/slideLayout" Target="../slideLayouts/slideLayout59.xml"/><Relationship Id="rId1" Type="http://schemas.openxmlformats.org/officeDocument/2006/relationships/tags" Target="../tags/tag4.xml"/><Relationship Id="rId6" Type="http://schemas.openxmlformats.org/officeDocument/2006/relationships/hyperlink" Target="mailto:idemirtas@deloitte.at" TargetMode="External"/><Relationship Id="rId5" Type="http://schemas.openxmlformats.org/officeDocument/2006/relationships/image" Target="../media/image6.emf"/><Relationship Id="rId10" Type="http://schemas.openxmlformats.org/officeDocument/2006/relationships/image" Target="../media/image9.jpeg"/><Relationship Id="rId4" Type="http://schemas.openxmlformats.org/officeDocument/2006/relationships/oleObject" Target="../embeddings/oleObject4.bin"/><Relationship Id="rId9" Type="http://schemas.openxmlformats.org/officeDocument/2006/relationships/image" Target="../media/image8.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9.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4.xml"/><Relationship Id="rId7" Type="http://schemas.openxmlformats.org/officeDocument/2006/relationships/image" Target="../media/image13.jpeg"/><Relationship Id="rId2" Type="http://schemas.openxmlformats.org/officeDocument/2006/relationships/slideLayout" Target="../slideLayouts/slideLayout59.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9.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9.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9.bin"/><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tags" Target="../tags/tag11.xml"/><Relationship Id="rId21" Type="http://schemas.openxmlformats.org/officeDocument/2006/relationships/image" Target="../media/image26.png"/><Relationship Id="rId7" Type="http://schemas.openxmlformats.org/officeDocument/2006/relationships/notesSlide" Target="../notesSlides/notesSlide7.xml"/><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10.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tags" Target="../tags/tag9.xml"/><Relationship Id="rId6" Type="http://schemas.openxmlformats.org/officeDocument/2006/relationships/slideLayout" Target="../slideLayouts/slideLayout59.xml"/><Relationship Id="rId11" Type="http://schemas.openxmlformats.org/officeDocument/2006/relationships/image" Target="../media/image16.png"/><Relationship Id="rId5" Type="http://schemas.openxmlformats.org/officeDocument/2006/relationships/tags" Target="../tags/tag13.xml"/><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tags" Target="../tags/tag12.xml"/><Relationship Id="rId9" Type="http://schemas.openxmlformats.org/officeDocument/2006/relationships/image" Target="../media/image6.emf"/><Relationship Id="rId1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9.xml"/><Relationship Id="rId1" Type="http://schemas.openxmlformats.org/officeDocument/2006/relationships/tags" Target="../tags/tag14.xml"/><Relationship Id="rId6" Type="http://schemas.openxmlformats.org/officeDocument/2006/relationships/chart" Target="../charts/chart1.x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9.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1367D5ED-74C4-C546-F7A7-8DEA35F7F7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97007" y="476249"/>
            <a:ext cx="4684993" cy="46752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a:extLst>
              <a:ext uri="{FF2B5EF4-FFF2-40B4-BE49-F238E27FC236}">
                <a16:creationId xmlns:a16="http://schemas.microsoft.com/office/drawing/2014/main" id="{7145AA72-C3DC-4470-9A7E-6485164BBCF7}"/>
              </a:ext>
            </a:extLst>
          </p:cNvPr>
          <p:cNvGraphicFramePr>
            <a:graphicFrameLocks noChangeAspect="1"/>
          </p:cNvGraphicFramePr>
          <p:nvPr>
            <p:custDataLst>
              <p:tags r:id="rId3"/>
            </p:custDataLst>
            <p:extLst>
              <p:ext uri="{D42A27DB-BD31-4B8C-83A1-F6EECF244321}">
                <p14:modId xmlns:p14="http://schemas.microsoft.com/office/powerpoint/2010/main" val="328335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7" name="Objekt 6" hidden="1">
                        <a:extLst>
                          <a:ext uri="{FF2B5EF4-FFF2-40B4-BE49-F238E27FC236}">
                            <a16:creationId xmlns:a16="http://schemas.microsoft.com/office/drawing/2014/main" id="{7145AA72-C3DC-4470-9A7E-6485164BBCF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a:xfrm>
            <a:off x="501651" y="5375002"/>
            <a:ext cx="12014199" cy="895983"/>
          </a:xfrm>
        </p:spPr>
        <p:txBody>
          <a:bodyPr vert="horz"/>
          <a:lstStyle/>
          <a:p>
            <a:br>
              <a:rPr lang="de-AT" noProof="0" dirty="0"/>
            </a:br>
            <a:br>
              <a:rPr lang="de-AT" noProof="0" dirty="0"/>
            </a:br>
            <a:r>
              <a:rPr lang="de-AT" noProof="0" dirty="0"/>
              <a:t>Transformation durch Vertrauen: Der Mensch als Schlüssel zu IT- und OT-Security</a:t>
            </a:r>
            <a:endParaRPr lang="de-AT" noProof="0" dirty="0">
              <a:solidFill>
                <a:schemeClr val="tx1"/>
              </a:solidFill>
            </a:endParaRPr>
          </a:p>
        </p:txBody>
      </p:sp>
      <p:sp>
        <p:nvSpPr>
          <p:cNvPr id="5" name="Text Placeholder 4"/>
          <p:cNvSpPr>
            <a:spLocks noGrp="1"/>
          </p:cNvSpPr>
          <p:nvPr>
            <p:ph type="body" sz="quarter" idx="10"/>
          </p:nvPr>
        </p:nvSpPr>
        <p:spPr/>
        <p:txBody>
          <a:bodyPr/>
          <a:lstStyle/>
          <a:p>
            <a:pPr marL="0" indent="0">
              <a:buNone/>
            </a:pPr>
            <a:r>
              <a:rPr lang="de-AT" noProof="0" dirty="0"/>
              <a:t>IT-SECX , </a:t>
            </a:r>
            <a:r>
              <a:rPr lang="de-AT" cap="all" noProof="0" dirty="0"/>
              <a:t>03.10.2025</a:t>
            </a:r>
            <a:endParaRPr lang="de-AT" noProof="0" dirty="0"/>
          </a:p>
        </p:txBody>
      </p:sp>
      <p:pic>
        <p:nvPicPr>
          <p:cNvPr id="1026" name="Picture 2" descr="Meet IKARUS - IKARUS Security Software">
            <a:extLst>
              <a:ext uri="{FF2B5EF4-FFF2-40B4-BE49-F238E27FC236}">
                <a16:creationId xmlns:a16="http://schemas.microsoft.com/office/drawing/2014/main" id="{7294F831-DCD1-D46C-DCC2-23FED3D119B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70356" y="82192"/>
            <a:ext cx="3221643" cy="996696"/>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 r:id="rId2"/>
    </p:custDataLst>
    <p:extLst>
      <p:ext uri="{BB962C8B-B14F-4D97-AF65-F5344CB8AC3E}">
        <p14:creationId xmlns:p14="http://schemas.microsoft.com/office/powerpoint/2010/main" val="40156313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2324" name="think-cell data - do not delete" hidden="1">
            <a:extLst>
              <a:ext uri="{FF2B5EF4-FFF2-40B4-BE49-F238E27FC236}">
                <a16:creationId xmlns:a16="http://schemas.microsoft.com/office/drawing/2014/main" id="{B6146BD9-A8F0-5EED-7DAD-7E711BA6A575}"/>
              </a:ext>
            </a:extLst>
          </p:cNvPr>
          <p:cNvGraphicFramePr>
            <a:graphicFrameLocks noChangeAspect="1"/>
          </p:cNvGraphicFramePr>
          <p:nvPr>
            <p:custDataLst>
              <p:tags r:id="rId1"/>
            </p:custDataLst>
            <p:extLst>
              <p:ext uri="{D42A27DB-BD31-4B8C-83A1-F6EECF244321}">
                <p14:modId xmlns:p14="http://schemas.microsoft.com/office/powerpoint/2010/main" val="2758264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324" name="think-cell data - do not delete" hidden="1">
                        <a:extLst>
                          <a:ext uri="{FF2B5EF4-FFF2-40B4-BE49-F238E27FC236}">
                            <a16:creationId xmlns:a16="http://schemas.microsoft.com/office/drawing/2014/main" id="{B6146BD9-A8F0-5EED-7DAD-7E711BA6A5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a:solidFill>
                  <a:srgbClr val="53565A"/>
                </a:solidFill>
                <a:cs typeface="Calibri" panose="020F0502020204030204" pitchFamily="34" charset="0"/>
              </a:rPr>
              <a:t>Transformation wächst von innen heraus</a:t>
            </a: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a:t>Der Weg zur resilienten Sicherheitskultur</a:t>
            </a:r>
          </a:p>
        </p:txBody>
      </p:sp>
      <p:sp>
        <p:nvSpPr>
          <p:cNvPr id="23" name="Oval 22">
            <a:extLst>
              <a:ext uri="{FF2B5EF4-FFF2-40B4-BE49-F238E27FC236}">
                <a16:creationId xmlns:a16="http://schemas.microsoft.com/office/drawing/2014/main" id="{1CE69178-82DA-2D8F-16DA-A17D67F306DB}"/>
              </a:ext>
            </a:extLst>
          </p:cNvPr>
          <p:cNvSpPr>
            <a:spLocks/>
          </p:cNvSpPr>
          <p:nvPr/>
        </p:nvSpPr>
        <p:spPr>
          <a:xfrm>
            <a:off x="6682100" y="2551745"/>
            <a:ext cx="288000" cy="288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1</a:t>
            </a:r>
          </a:p>
        </p:txBody>
      </p:sp>
      <p:sp>
        <p:nvSpPr>
          <p:cNvPr id="25" name="Oval 24">
            <a:extLst>
              <a:ext uri="{FF2B5EF4-FFF2-40B4-BE49-F238E27FC236}">
                <a16:creationId xmlns:a16="http://schemas.microsoft.com/office/drawing/2014/main" id="{470B4F85-A99D-4594-6F06-92AA85D905F4}"/>
              </a:ext>
            </a:extLst>
          </p:cNvPr>
          <p:cNvSpPr>
            <a:spLocks/>
          </p:cNvSpPr>
          <p:nvPr/>
        </p:nvSpPr>
        <p:spPr>
          <a:xfrm>
            <a:off x="6682100" y="3469892"/>
            <a:ext cx="288000" cy="288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2</a:t>
            </a:r>
          </a:p>
        </p:txBody>
      </p:sp>
      <p:sp>
        <p:nvSpPr>
          <p:cNvPr id="35" name="Oval 34">
            <a:extLst>
              <a:ext uri="{FF2B5EF4-FFF2-40B4-BE49-F238E27FC236}">
                <a16:creationId xmlns:a16="http://schemas.microsoft.com/office/drawing/2014/main" id="{C593E309-09FF-AD0F-425F-181DA187DE18}"/>
              </a:ext>
            </a:extLst>
          </p:cNvPr>
          <p:cNvSpPr>
            <a:spLocks/>
          </p:cNvSpPr>
          <p:nvPr/>
        </p:nvSpPr>
        <p:spPr>
          <a:xfrm>
            <a:off x="6682100" y="4467525"/>
            <a:ext cx="288000" cy="288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3</a:t>
            </a:r>
          </a:p>
        </p:txBody>
      </p:sp>
      <p:sp>
        <p:nvSpPr>
          <p:cNvPr id="41" name="Oval 40">
            <a:extLst>
              <a:ext uri="{FF2B5EF4-FFF2-40B4-BE49-F238E27FC236}">
                <a16:creationId xmlns:a16="http://schemas.microsoft.com/office/drawing/2014/main" id="{0CF0EC4D-234E-A366-45A6-4BE9A35FDED8}"/>
              </a:ext>
            </a:extLst>
          </p:cNvPr>
          <p:cNvSpPr>
            <a:spLocks/>
          </p:cNvSpPr>
          <p:nvPr/>
        </p:nvSpPr>
        <p:spPr>
          <a:xfrm>
            <a:off x="6682100" y="5462639"/>
            <a:ext cx="288000" cy="288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4</a:t>
            </a:r>
          </a:p>
        </p:txBody>
      </p:sp>
      <p:sp>
        <p:nvSpPr>
          <p:cNvPr id="44" name="Rectangle 43">
            <a:extLst>
              <a:ext uri="{FF2B5EF4-FFF2-40B4-BE49-F238E27FC236}">
                <a16:creationId xmlns:a16="http://schemas.microsoft.com/office/drawing/2014/main" id="{5C32F925-5A8C-CF3C-F2DE-1E92200B4791}"/>
              </a:ext>
            </a:extLst>
          </p:cNvPr>
          <p:cNvSpPr>
            <a:spLocks/>
          </p:cNvSpPr>
          <p:nvPr/>
        </p:nvSpPr>
        <p:spPr>
          <a:xfrm>
            <a:off x="3170271" y="2541856"/>
            <a:ext cx="2499649" cy="307777"/>
          </a:xfrm>
          <a:prstGeom prst="rect">
            <a:avLst/>
          </a:prstGeom>
        </p:spPr>
        <p:txBody>
          <a:bodyPr wrap="square">
            <a:spAutoFit/>
          </a:bodyPr>
          <a:lstStyle/>
          <a:p>
            <a:pPr>
              <a:defRPr/>
            </a:pPr>
            <a:r>
              <a:rPr lang="en-US" sz="1400" b="1" kern="0" err="1">
                <a:solidFill>
                  <a:prstClr val="black">
                    <a:lumMod val="85000"/>
                    <a:lumOff val="15000"/>
                  </a:prstClr>
                </a:solidFill>
                <a:latin typeface="Aptos" panose="020B0004020202020204" pitchFamily="34" charset="0"/>
                <a:cs typeface="Calibri" panose="020F0502020204030204" pitchFamily="34" charset="0"/>
              </a:rPr>
              <a:t>Globale</a:t>
            </a:r>
            <a:r>
              <a:rPr lang="en-US" sz="1400" b="1" kern="0">
                <a:solidFill>
                  <a:prstClr val="black">
                    <a:lumMod val="85000"/>
                    <a:lumOff val="15000"/>
                  </a:prstClr>
                </a:solidFill>
                <a:latin typeface="Aptos" panose="020B0004020202020204" pitchFamily="34" charset="0"/>
                <a:cs typeface="Calibri" panose="020F0502020204030204" pitchFamily="34" charset="0"/>
              </a:rPr>
              <a:t> </a:t>
            </a:r>
            <a:r>
              <a:rPr lang="en-US" sz="1400" b="1" kern="0" err="1">
                <a:solidFill>
                  <a:prstClr val="black">
                    <a:lumMod val="85000"/>
                    <a:lumOff val="15000"/>
                  </a:prstClr>
                </a:solidFill>
                <a:latin typeface="Aptos" panose="020B0004020202020204" pitchFamily="34" charset="0"/>
                <a:cs typeface="Calibri" panose="020F0502020204030204" pitchFamily="34" charset="0"/>
              </a:rPr>
              <a:t>Sicherheitskultur</a:t>
            </a:r>
            <a:endParaRPr lang="en-US" sz="1400" b="1" kern="0">
              <a:solidFill>
                <a:prstClr val="black">
                  <a:lumMod val="85000"/>
                  <a:lumOff val="15000"/>
                </a:prstClr>
              </a:solidFill>
              <a:latin typeface="Aptos" panose="020B0004020202020204" pitchFamily="34" charset="0"/>
              <a:cs typeface="Calibri" panose="020F0502020204030204" pitchFamily="34" charset="0"/>
            </a:endParaRPr>
          </a:p>
        </p:txBody>
      </p:sp>
      <p:sp>
        <p:nvSpPr>
          <p:cNvPr id="45" name="Rectangle 44">
            <a:extLst>
              <a:ext uri="{FF2B5EF4-FFF2-40B4-BE49-F238E27FC236}">
                <a16:creationId xmlns:a16="http://schemas.microsoft.com/office/drawing/2014/main" id="{B52A4DB5-BDEE-88E5-0D6C-6411EC8FD76C}"/>
              </a:ext>
            </a:extLst>
          </p:cNvPr>
          <p:cNvSpPr>
            <a:spLocks/>
          </p:cNvSpPr>
          <p:nvPr/>
        </p:nvSpPr>
        <p:spPr>
          <a:xfrm>
            <a:off x="3694963" y="3460003"/>
            <a:ext cx="997389" cy="307777"/>
          </a:xfrm>
          <a:prstGeom prst="rect">
            <a:avLst/>
          </a:prstGeom>
        </p:spPr>
        <p:txBody>
          <a:bodyPr wrap="none">
            <a:spAutoFit/>
          </a:bodyPr>
          <a:lstStyle/>
          <a:p>
            <a:pPr>
              <a:defRPr/>
            </a:pPr>
            <a:r>
              <a:rPr lang="en-US" sz="1400" b="1" kern="0" err="1">
                <a:solidFill>
                  <a:prstClr val="black">
                    <a:lumMod val="85000"/>
                    <a:lumOff val="15000"/>
                  </a:prstClr>
                </a:solidFill>
                <a:latin typeface="Aptos" panose="020B0004020202020204" pitchFamily="34" charset="0"/>
                <a:cs typeface="Calibri" panose="020F0502020204030204" pitchFamily="34" charset="0"/>
              </a:rPr>
              <a:t>Vertrauen</a:t>
            </a:r>
            <a:endParaRPr lang="en-US" sz="1400" b="1" kern="0">
              <a:solidFill>
                <a:prstClr val="black">
                  <a:lumMod val="85000"/>
                  <a:lumOff val="15000"/>
                </a:prstClr>
              </a:solidFill>
              <a:latin typeface="Aptos" panose="020B0004020202020204" pitchFamily="34" charset="0"/>
              <a:cs typeface="Calibri" panose="020F0502020204030204" pitchFamily="34" charset="0"/>
            </a:endParaRPr>
          </a:p>
        </p:txBody>
      </p:sp>
      <p:sp>
        <p:nvSpPr>
          <p:cNvPr id="48" name="Rectangle 47">
            <a:extLst>
              <a:ext uri="{FF2B5EF4-FFF2-40B4-BE49-F238E27FC236}">
                <a16:creationId xmlns:a16="http://schemas.microsoft.com/office/drawing/2014/main" id="{2E112A98-2D32-3CA0-763B-02CBDCE3B1AC}"/>
              </a:ext>
            </a:extLst>
          </p:cNvPr>
          <p:cNvSpPr>
            <a:spLocks/>
          </p:cNvSpPr>
          <p:nvPr/>
        </p:nvSpPr>
        <p:spPr>
          <a:xfrm>
            <a:off x="4157230" y="4457636"/>
            <a:ext cx="2321442" cy="307777"/>
          </a:xfrm>
          <a:prstGeom prst="rect">
            <a:avLst/>
          </a:prstGeom>
        </p:spPr>
        <p:txBody>
          <a:bodyPr wrap="square">
            <a:spAutoFit/>
          </a:bodyPr>
          <a:lstStyle/>
          <a:p>
            <a:pPr>
              <a:defRPr/>
            </a:pPr>
            <a:r>
              <a:rPr lang="en-US" sz="1400" b="1" kern="0" err="1">
                <a:solidFill>
                  <a:prstClr val="black">
                    <a:lumMod val="85000"/>
                    <a:lumOff val="15000"/>
                  </a:prstClr>
                </a:solidFill>
                <a:latin typeface="Aptos" panose="020B0004020202020204" pitchFamily="34" charset="0"/>
                <a:cs typeface="Calibri" panose="020F0502020204030204" pitchFamily="34" charset="0"/>
              </a:rPr>
              <a:t>Zusammenarbeit</a:t>
            </a:r>
            <a:endParaRPr lang="en-US" sz="1400" b="1" kern="0">
              <a:solidFill>
                <a:prstClr val="black">
                  <a:lumMod val="85000"/>
                  <a:lumOff val="15000"/>
                </a:prstClr>
              </a:solidFill>
              <a:latin typeface="Aptos" panose="020B0004020202020204" pitchFamily="34" charset="0"/>
              <a:cs typeface="Calibri" panose="020F0502020204030204" pitchFamily="34" charset="0"/>
            </a:endParaRPr>
          </a:p>
        </p:txBody>
      </p:sp>
      <p:sp>
        <p:nvSpPr>
          <p:cNvPr id="52" name="Freeform 18">
            <a:extLst>
              <a:ext uri="{FF2B5EF4-FFF2-40B4-BE49-F238E27FC236}">
                <a16:creationId xmlns:a16="http://schemas.microsoft.com/office/drawing/2014/main" id="{1FAA78E3-F3D1-EDD6-40C4-D84AD1BB7CE9}"/>
              </a:ext>
            </a:extLst>
          </p:cNvPr>
          <p:cNvSpPr>
            <a:spLocks/>
          </p:cNvSpPr>
          <p:nvPr/>
        </p:nvSpPr>
        <p:spPr>
          <a:xfrm>
            <a:off x="2317695" y="2159400"/>
            <a:ext cx="894565" cy="855719"/>
          </a:xfrm>
          <a:custGeom>
            <a:avLst/>
            <a:gdLst>
              <a:gd name="connsiteX0" fmla="*/ 399347 w 798695"/>
              <a:gd name="connsiteY0" fmla="*/ 0 h 855719"/>
              <a:gd name="connsiteX1" fmla="*/ 798695 w 798695"/>
              <a:gd name="connsiteY1" fmla="*/ 855719 h 855719"/>
              <a:gd name="connsiteX2" fmla="*/ 0 w 798695"/>
              <a:gd name="connsiteY2" fmla="*/ 855719 h 855719"/>
            </a:gdLst>
            <a:ahLst/>
            <a:cxnLst>
              <a:cxn ang="0">
                <a:pos x="connsiteX0" y="connsiteY0"/>
              </a:cxn>
              <a:cxn ang="0">
                <a:pos x="connsiteX1" y="connsiteY1"/>
              </a:cxn>
              <a:cxn ang="0">
                <a:pos x="connsiteX2" y="connsiteY2"/>
              </a:cxn>
            </a:cxnLst>
            <a:rect l="l" t="t" r="r" b="b"/>
            <a:pathLst>
              <a:path w="798695" h="855719">
                <a:moveTo>
                  <a:pt x="399347" y="0"/>
                </a:moveTo>
                <a:lnTo>
                  <a:pt x="798695" y="855719"/>
                </a:lnTo>
                <a:lnTo>
                  <a:pt x="0" y="855719"/>
                </a:lnTo>
                <a:close/>
              </a:path>
            </a:pathLst>
          </a:custGeom>
          <a:solidFill>
            <a:srgbClr val="86BC2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3" name="Freeform 19">
            <a:extLst>
              <a:ext uri="{FF2B5EF4-FFF2-40B4-BE49-F238E27FC236}">
                <a16:creationId xmlns:a16="http://schemas.microsoft.com/office/drawing/2014/main" id="{0EE6429B-729B-DF79-75BF-D143569B73D9}"/>
              </a:ext>
            </a:extLst>
          </p:cNvPr>
          <p:cNvSpPr/>
          <p:nvPr/>
        </p:nvSpPr>
        <p:spPr>
          <a:xfrm>
            <a:off x="1796233" y="3215029"/>
            <a:ext cx="1937488" cy="797724"/>
          </a:xfrm>
          <a:custGeom>
            <a:avLst/>
            <a:gdLst>
              <a:gd name="connsiteX0" fmla="*/ 372282 w 1729848"/>
              <a:gd name="connsiteY0" fmla="*/ 0 h 797724"/>
              <a:gd name="connsiteX1" fmla="*/ 1357566 w 1729848"/>
              <a:gd name="connsiteY1" fmla="*/ 0 h 797724"/>
              <a:gd name="connsiteX2" fmla="*/ 1729848 w 1729848"/>
              <a:gd name="connsiteY2" fmla="*/ 797724 h 797724"/>
              <a:gd name="connsiteX3" fmla="*/ 0 w 1729848"/>
              <a:gd name="connsiteY3" fmla="*/ 797724 h 797724"/>
            </a:gdLst>
            <a:ahLst/>
            <a:cxnLst>
              <a:cxn ang="0">
                <a:pos x="connsiteX0" y="connsiteY0"/>
              </a:cxn>
              <a:cxn ang="0">
                <a:pos x="connsiteX1" y="connsiteY1"/>
              </a:cxn>
              <a:cxn ang="0">
                <a:pos x="connsiteX2" y="connsiteY2"/>
              </a:cxn>
              <a:cxn ang="0">
                <a:pos x="connsiteX3" y="connsiteY3"/>
              </a:cxn>
            </a:cxnLst>
            <a:rect l="l" t="t" r="r" b="b"/>
            <a:pathLst>
              <a:path w="1729848" h="797724">
                <a:moveTo>
                  <a:pt x="372282" y="0"/>
                </a:moveTo>
                <a:lnTo>
                  <a:pt x="1357566" y="0"/>
                </a:lnTo>
                <a:lnTo>
                  <a:pt x="1729848" y="797724"/>
                </a:lnTo>
                <a:lnTo>
                  <a:pt x="0" y="797724"/>
                </a:lnTo>
                <a:close/>
              </a:path>
            </a:pathLst>
          </a:custGeom>
          <a:solidFill>
            <a:srgbClr val="86BC25">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4" name="Freeform 20">
            <a:extLst>
              <a:ext uri="{FF2B5EF4-FFF2-40B4-BE49-F238E27FC236}">
                <a16:creationId xmlns:a16="http://schemas.microsoft.com/office/drawing/2014/main" id="{57BB2777-C1BC-AF16-138B-08CC8CFEE46C}"/>
              </a:ext>
            </a:extLst>
          </p:cNvPr>
          <p:cNvSpPr>
            <a:spLocks/>
          </p:cNvSpPr>
          <p:nvPr/>
        </p:nvSpPr>
        <p:spPr>
          <a:xfrm>
            <a:off x="1274772" y="4212663"/>
            <a:ext cx="2980410" cy="797724"/>
          </a:xfrm>
          <a:custGeom>
            <a:avLst/>
            <a:gdLst>
              <a:gd name="connsiteX0" fmla="*/ 372282 w 2661001"/>
              <a:gd name="connsiteY0" fmla="*/ 0 h 797724"/>
              <a:gd name="connsiteX1" fmla="*/ 2288718 w 2661001"/>
              <a:gd name="connsiteY1" fmla="*/ 0 h 797724"/>
              <a:gd name="connsiteX2" fmla="*/ 2661001 w 2661001"/>
              <a:gd name="connsiteY2" fmla="*/ 797724 h 797724"/>
              <a:gd name="connsiteX3" fmla="*/ 0 w 2661001"/>
              <a:gd name="connsiteY3" fmla="*/ 797724 h 797724"/>
            </a:gdLst>
            <a:ahLst/>
            <a:cxnLst>
              <a:cxn ang="0">
                <a:pos x="connsiteX0" y="connsiteY0"/>
              </a:cxn>
              <a:cxn ang="0">
                <a:pos x="connsiteX1" y="connsiteY1"/>
              </a:cxn>
              <a:cxn ang="0">
                <a:pos x="connsiteX2" y="connsiteY2"/>
              </a:cxn>
              <a:cxn ang="0">
                <a:pos x="connsiteX3" y="connsiteY3"/>
              </a:cxn>
            </a:cxnLst>
            <a:rect l="l" t="t" r="r" b="b"/>
            <a:pathLst>
              <a:path w="2661001" h="797724">
                <a:moveTo>
                  <a:pt x="372282" y="0"/>
                </a:moveTo>
                <a:lnTo>
                  <a:pt x="2288718" y="0"/>
                </a:lnTo>
                <a:lnTo>
                  <a:pt x="2661001" y="797724"/>
                </a:lnTo>
                <a:lnTo>
                  <a:pt x="0" y="797724"/>
                </a:lnTo>
                <a:close/>
              </a:path>
            </a:pathLst>
          </a:custGeom>
          <a:solidFill>
            <a:srgbClr val="86BC2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5" name="Freeform 21">
            <a:extLst>
              <a:ext uri="{FF2B5EF4-FFF2-40B4-BE49-F238E27FC236}">
                <a16:creationId xmlns:a16="http://schemas.microsoft.com/office/drawing/2014/main" id="{6D646375-92D0-481A-D82E-F1D33FD30758}"/>
              </a:ext>
            </a:extLst>
          </p:cNvPr>
          <p:cNvSpPr/>
          <p:nvPr/>
        </p:nvSpPr>
        <p:spPr>
          <a:xfrm>
            <a:off x="755946" y="5210297"/>
            <a:ext cx="4018061" cy="792682"/>
          </a:xfrm>
          <a:custGeom>
            <a:avLst/>
            <a:gdLst>
              <a:gd name="connsiteX0" fmla="*/ 369930 w 3587448"/>
              <a:gd name="connsiteY0" fmla="*/ 0 h 792682"/>
              <a:gd name="connsiteX1" fmla="*/ 3217519 w 3587448"/>
              <a:gd name="connsiteY1" fmla="*/ 0 h 792682"/>
              <a:gd name="connsiteX2" fmla="*/ 3587448 w 3587448"/>
              <a:gd name="connsiteY2" fmla="*/ 792682 h 792682"/>
              <a:gd name="connsiteX3" fmla="*/ 0 w 3587448"/>
              <a:gd name="connsiteY3" fmla="*/ 792682 h 792682"/>
            </a:gdLst>
            <a:ahLst/>
            <a:cxnLst>
              <a:cxn ang="0">
                <a:pos x="connsiteX0" y="connsiteY0"/>
              </a:cxn>
              <a:cxn ang="0">
                <a:pos x="connsiteX1" y="connsiteY1"/>
              </a:cxn>
              <a:cxn ang="0">
                <a:pos x="connsiteX2" y="connsiteY2"/>
              </a:cxn>
              <a:cxn ang="0">
                <a:pos x="connsiteX3" y="connsiteY3"/>
              </a:cxn>
            </a:cxnLst>
            <a:rect l="l" t="t" r="r" b="b"/>
            <a:pathLst>
              <a:path w="3587448" h="792682">
                <a:moveTo>
                  <a:pt x="369930" y="0"/>
                </a:moveTo>
                <a:lnTo>
                  <a:pt x="3217519" y="0"/>
                </a:lnTo>
                <a:lnTo>
                  <a:pt x="3587448" y="792682"/>
                </a:lnTo>
                <a:lnTo>
                  <a:pt x="0" y="792682"/>
                </a:lnTo>
                <a:close/>
              </a:path>
            </a:pathLst>
          </a:custGeom>
          <a:solidFill>
            <a:srgbClr val="86BC2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6" name="Oval 55">
            <a:extLst>
              <a:ext uri="{FF2B5EF4-FFF2-40B4-BE49-F238E27FC236}">
                <a16:creationId xmlns:a16="http://schemas.microsoft.com/office/drawing/2014/main" id="{D3E07E0B-FFDF-D740-B2B5-ED286FEB646F}"/>
              </a:ext>
            </a:extLst>
          </p:cNvPr>
          <p:cNvSpPr>
            <a:spLocks/>
          </p:cNvSpPr>
          <p:nvPr/>
        </p:nvSpPr>
        <p:spPr>
          <a:xfrm>
            <a:off x="2677648" y="2605745"/>
            <a:ext cx="174658" cy="180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1</a:t>
            </a:r>
          </a:p>
        </p:txBody>
      </p:sp>
      <p:sp>
        <p:nvSpPr>
          <p:cNvPr id="57" name="Oval 56">
            <a:extLst>
              <a:ext uri="{FF2B5EF4-FFF2-40B4-BE49-F238E27FC236}">
                <a16:creationId xmlns:a16="http://schemas.microsoft.com/office/drawing/2014/main" id="{F26AA906-B669-282A-246A-3CD6CA480FCB}"/>
              </a:ext>
            </a:extLst>
          </p:cNvPr>
          <p:cNvSpPr/>
          <p:nvPr/>
        </p:nvSpPr>
        <p:spPr>
          <a:xfrm>
            <a:off x="2677647" y="3523891"/>
            <a:ext cx="174658" cy="180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2</a:t>
            </a:r>
          </a:p>
        </p:txBody>
      </p:sp>
      <p:sp>
        <p:nvSpPr>
          <p:cNvPr id="58" name="Oval 57">
            <a:extLst>
              <a:ext uri="{FF2B5EF4-FFF2-40B4-BE49-F238E27FC236}">
                <a16:creationId xmlns:a16="http://schemas.microsoft.com/office/drawing/2014/main" id="{FCBB4729-ADCC-FFCF-6531-E9D3A180D9E9}"/>
              </a:ext>
            </a:extLst>
          </p:cNvPr>
          <p:cNvSpPr/>
          <p:nvPr/>
        </p:nvSpPr>
        <p:spPr>
          <a:xfrm>
            <a:off x="2677647" y="4521525"/>
            <a:ext cx="174658" cy="180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3</a:t>
            </a:r>
          </a:p>
        </p:txBody>
      </p:sp>
      <p:sp>
        <p:nvSpPr>
          <p:cNvPr id="59" name="Oval 58">
            <a:extLst>
              <a:ext uri="{FF2B5EF4-FFF2-40B4-BE49-F238E27FC236}">
                <a16:creationId xmlns:a16="http://schemas.microsoft.com/office/drawing/2014/main" id="{F62E2798-A9DE-22CB-C176-79D3A9DB1755}"/>
              </a:ext>
            </a:extLst>
          </p:cNvPr>
          <p:cNvSpPr/>
          <p:nvPr/>
        </p:nvSpPr>
        <p:spPr>
          <a:xfrm>
            <a:off x="2677647" y="5516638"/>
            <a:ext cx="174658" cy="180000"/>
          </a:xfrm>
          <a:prstGeom prst="ellipse">
            <a:avLst/>
          </a:prstGeom>
          <a:solidFill>
            <a:sysClr val="window" lastClr="FFFFFF"/>
          </a:solidFill>
          <a:ln w="12700" cap="flat" cmpd="sng" algn="ctr">
            <a:solidFill>
              <a:srgbClr val="86BC2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6BC25"/>
                </a:solidFill>
                <a:effectLst/>
                <a:uLnTx/>
                <a:uFillTx/>
                <a:latin typeface="Calibri" panose="020F0502020204030204" pitchFamily="34" charset="0"/>
                <a:cs typeface="Calibri" panose="020F0502020204030204" pitchFamily="34" charset="0"/>
              </a:rPr>
              <a:t>4</a:t>
            </a:r>
          </a:p>
        </p:txBody>
      </p:sp>
      <p:sp>
        <p:nvSpPr>
          <p:cNvPr id="60" name="Rectangle 59">
            <a:extLst>
              <a:ext uri="{FF2B5EF4-FFF2-40B4-BE49-F238E27FC236}">
                <a16:creationId xmlns:a16="http://schemas.microsoft.com/office/drawing/2014/main" id="{7FAEA6C7-E974-05E4-2EA4-D80E510CE35E}"/>
              </a:ext>
            </a:extLst>
          </p:cNvPr>
          <p:cNvSpPr>
            <a:spLocks/>
          </p:cNvSpPr>
          <p:nvPr/>
        </p:nvSpPr>
        <p:spPr>
          <a:xfrm>
            <a:off x="4721914" y="5452750"/>
            <a:ext cx="1085554" cy="307777"/>
          </a:xfrm>
          <a:prstGeom prst="rect">
            <a:avLst/>
          </a:prstGeom>
        </p:spPr>
        <p:txBody>
          <a:bodyPr wrap="none">
            <a:spAutoFit/>
          </a:bodyPr>
          <a:lstStyle/>
          <a:p>
            <a:pPr>
              <a:defRPr/>
            </a:pPr>
            <a:r>
              <a:rPr lang="en-US" sz="1400" b="1" kern="0">
                <a:solidFill>
                  <a:prstClr val="black">
                    <a:lumMod val="85000"/>
                    <a:lumOff val="15000"/>
                  </a:prstClr>
                </a:solidFill>
                <a:latin typeface="Aptos" panose="020B0004020202020204" pitchFamily="34" charset="0"/>
                <a:cs typeface="Calibri" panose="020F0502020204030204" pitchFamily="34" charset="0"/>
              </a:rPr>
              <a:t>Awareness</a:t>
            </a:r>
          </a:p>
        </p:txBody>
      </p:sp>
      <p:grpSp>
        <p:nvGrpSpPr>
          <p:cNvPr id="61" name="Gruppieren 35">
            <a:extLst>
              <a:ext uri="{FF2B5EF4-FFF2-40B4-BE49-F238E27FC236}">
                <a16:creationId xmlns:a16="http://schemas.microsoft.com/office/drawing/2014/main" id="{263E5D86-E5D3-B7C1-92E8-C3C9A6EF46F3}"/>
              </a:ext>
            </a:extLst>
          </p:cNvPr>
          <p:cNvGrpSpPr/>
          <p:nvPr/>
        </p:nvGrpSpPr>
        <p:grpSpPr bwMode="gray">
          <a:xfrm>
            <a:off x="469899" y="1611590"/>
            <a:ext cx="5760000" cy="337959"/>
            <a:chOff x="469900" y="2392241"/>
            <a:chExt cx="5328289" cy="337959"/>
          </a:xfrm>
          <a:noFill/>
        </p:grpSpPr>
        <p:sp>
          <p:nvSpPr>
            <p:cNvPr id="62" name="Rectangle 9">
              <a:extLst>
                <a:ext uri="{FF2B5EF4-FFF2-40B4-BE49-F238E27FC236}">
                  <a16:creationId xmlns:a16="http://schemas.microsoft.com/office/drawing/2014/main" id="{93BCEAE2-3A60-400E-3478-A37E7C0DA50E}"/>
                </a:ext>
              </a:extLst>
            </p:cNvPr>
            <p:cNvSpPr/>
            <p:nvPr/>
          </p:nvSpPr>
          <p:spPr bwMode="gray">
            <a:xfrm>
              <a:off x="469900" y="2392241"/>
              <a:ext cx="5328289" cy="276999"/>
            </a:xfrm>
            <a:prstGeom prst="rect">
              <a:avLst/>
            </a:prstGeom>
            <a:grpFill/>
            <a:ln w="12700" cap="flat" cmpd="sng" algn="ctr">
              <a:noFill/>
              <a:prstDash val="solid"/>
            </a:ln>
            <a:effectLst/>
          </p:spPr>
          <p:txBody>
            <a:bodyPr lIns="0" tIns="0" rIns="0" bIns="0" rtlCol="0" anchor="b">
              <a:spAutoFit/>
            </a:bodyPr>
            <a:lstStyle/>
            <a:p>
              <a:pPr marL="0" marR="0" lvl="0" indent="0" defTabSz="88397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86BC25"/>
                  </a:solidFill>
                  <a:effectLst/>
                  <a:uLnTx/>
                  <a:uFillTx/>
                  <a:latin typeface="Calibri" panose="020F0502020204030204" pitchFamily="34" charset="0"/>
                  <a:ea typeface="+mn-ea"/>
                  <a:cs typeface="Calibri" panose="020F0502020204030204" pitchFamily="34" charset="0"/>
                </a:rPr>
                <a:t>Kultur-</a:t>
              </a:r>
              <a:r>
                <a:rPr kumimoji="0" lang="en-US" sz="1800" b="1" i="0" u="none" strike="noStrike" kern="0" cap="none" spc="0" normalizeH="0" baseline="0" noProof="0" err="1">
                  <a:ln>
                    <a:noFill/>
                  </a:ln>
                  <a:solidFill>
                    <a:srgbClr val="86BC25"/>
                  </a:solidFill>
                  <a:effectLst/>
                  <a:uLnTx/>
                  <a:uFillTx/>
                  <a:latin typeface="Calibri" panose="020F0502020204030204" pitchFamily="34" charset="0"/>
                  <a:ea typeface="+mn-ea"/>
                  <a:cs typeface="Calibri" panose="020F0502020204030204" pitchFamily="34" charset="0"/>
                </a:rPr>
                <a:t>Pyramide</a:t>
              </a:r>
              <a:endParaRPr kumimoji="0" lang="en-US" sz="1800" b="1" i="0" u="none" strike="noStrike" kern="0" cap="none" spc="0" normalizeH="0" baseline="0" noProof="0">
                <a:ln>
                  <a:noFill/>
                </a:ln>
                <a:solidFill>
                  <a:srgbClr val="86BC25"/>
                </a:solidFill>
                <a:effectLst/>
                <a:uLnTx/>
                <a:uFillTx/>
                <a:latin typeface="Calibri" panose="020F0502020204030204" pitchFamily="34" charset="0"/>
                <a:ea typeface="+mn-ea"/>
                <a:cs typeface="Calibri" panose="020F0502020204030204" pitchFamily="34" charset="0"/>
              </a:endParaRPr>
            </a:p>
          </p:txBody>
        </p:sp>
        <p:cxnSp>
          <p:nvCxnSpPr>
            <p:cNvPr id="63" name="Straight Connector 27">
              <a:extLst>
                <a:ext uri="{FF2B5EF4-FFF2-40B4-BE49-F238E27FC236}">
                  <a16:creationId xmlns:a16="http://schemas.microsoft.com/office/drawing/2014/main" id="{64799AFC-0E1D-0E29-585E-44244800B86F}"/>
                </a:ext>
              </a:extLst>
            </p:cNvPr>
            <p:cNvCxnSpPr/>
            <p:nvPr/>
          </p:nvCxnSpPr>
          <p:spPr bwMode="gray">
            <a:xfrm>
              <a:off x="469900" y="2730200"/>
              <a:ext cx="5327999" cy="0"/>
            </a:xfrm>
            <a:prstGeom prst="line">
              <a:avLst/>
            </a:prstGeom>
            <a:grpFill/>
            <a:ln w="19050" cap="flat" cmpd="sng" algn="ctr">
              <a:solidFill>
                <a:srgbClr val="86BC25"/>
              </a:solidFill>
              <a:prstDash val="solid"/>
            </a:ln>
            <a:effectLst/>
          </p:spPr>
        </p:cxnSp>
      </p:grpSp>
      <p:grpSp>
        <p:nvGrpSpPr>
          <p:cNvPr id="2304" name="Gruppieren 51">
            <a:extLst>
              <a:ext uri="{FF2B5EF4-FFF2-40B4-BE49-F238E27FC236}">
                <a16:creationId xmlns:a16="http://schemas.microsoft.com/office/drawing/2014/main" id="{745AF18A-D5EE-E27F-D5DE-000E9C53D01B}"/>
              </a:ext>
            </a:extLst>
          </p:cNvPr>
          <p:cNvGrpSpPr/>
          <p:nvPr/>
        </p:nvGrpSpPr>
        <p:grpSpPr bwMode="gray">
          <a:xfrm>
            <a:off x="6682100" y="1611590"/>
            <a:ext cx="5040000" cy="337959"/>
            <a:chOff x="469900" y="2392241"/>
            <a:chExt cx="5328289" cy="337959"/>
          </a:xfrm>
          <a:noFill/>
        </p:grpSpPr>
        <p:sp>
          <p:nvSpPr>
            <p:cNvPr id="2305" name="Rectangle 9">
              <a:extLst>
                <a:ext uri="{FF2B5EF4-FFF2-40B4-BE49-F238E27FC236}">
                  <a16:creationId xmlns:a16="http://schemas.microsoft.com/office/drawing/2014/main" id="{DE2F6524-8326-A45C-B355-8CCA4D55B1C9}"/>
                </a:ext>
              </a:extLst>
            </p:cNvPr>
            <p:cNvSpPr/>
            <p:nvPr/>
          </p:nvSpPr>
          <p:spPr bwMode="gray">
            <a:xfrm>
              <a:off x="469900" y="2392241"/>
              <a:ext cx="5328289" cy="276999"/>
            </a:xfrm>
            <a:prstGeom prst="rect">
              <a:avLst/>
            </a:prstGeom>
            <a:grpFill/>
            <a:ln w="12700" cap="flat" cmpd="sng" algn="ctr">
              <a:noFill/>
              <a:prstDash val="solid"/>
            </a:ln>
            <a:effectLst/>
          </p:spPr>
          <p:txBody>
            <a:bodyPr lIns="0" tIns="0" rIns="0" bIns="0" rtlCol="0" anchor="b">
              <a:spAutoFit/>
            </a:bodyPr>
            <a:lstStyle/>
            <a:p>
              <a:pPr marL="0" marR="0" lvl="0" indent="0" defTabSz="88397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86BC25"/>
                  </a:solidFill>
                  <a:effectLst/>
                  <a:uLnTx/>
                  <a:uFillTx/>
                  <a:latin typeface="Calibri" panose="020F0502020204030204" pitchFamily="34" charset="0"/>
                  <a:ea typeface="+mn-ea"/>
                  <a:cs typeface="Calibri" panose="020F0502020204030204" pitchFamily="34" charset="0"/>
                </a:rPr>
                <a:t>Beschreibung</a:t>
              </a:r>
            </a:p>
          </p:txBody>
        </p:sp>
        <p:cxnSp>
          <p:nvCxnSpPr>
            <p:cNvPr id="2306" name="Straight Connector 27">
              <a:extLst>
                <a:ext uri="{FF2B5EF4-FFF2-40B4-BE49-F238E27FC236}">
                  <a16:creationId xmlns:a16="http://schemas.microsoft.com/office/drawing/2014/main" id="{F97B7653-3F0A-F002-FAF0-3C2157CEE152}"/>
                </a:ext>
              </a:extLst>
            </p:cNvPr>
            <p:cNvCxnSpPr/>
            <p:nvPr/>
          </p:nvCxnSpPr>
          <p:spPr bwMode="gray">
            <a:xfrm>
              <a:off x="469900" y="2730200"/>
              <a:ext cx="5327999" cy="0"/>
            </a:xfrm>
            <a:prstGeom prst="line">
              <a:avLst/>
            </a:prstGeom>
            <a:grpFill/>
            <a:ln w="19050" cap="flat" cmpd="sng" algn="ctr">
              <a:solidFill>
                <a:srgbClr val="86BC25"/>
              </a:solidFill>
              <a:prstDash val="solid"/>
            </a:ln>
            <a:effectLst/>
          </p:spPr>
        </p:cxnSp>
      </p:grpSp>
      <p:sp>
        <p:nvSpPr>
          <p:cNvPr id="2307" name="TextBox 2306">
            <a:extLst>
              <a:ext uri="{FF2B5EF4-FFF2-40B4-BE49-F238E27FC236}">
                <a16:creationId xmlns:a16="http://schemas.microsoft.com/office/drawing/2014/main" id="{3F65CAD5-0D22-C3E8-0F61-47E277E148A2}"/>
              </a:ext>
            </a:extLst>
          </p:cNvPr>
          <p:cNvSpPr txBox="1">
            <a:spLocks/>
          </p:cNvSpPr>
          <p:nvPr/>
        </p:nvSpPr>
        <p:spPr>
          <a:xfrm>
            <a:off x="7206763" y="5267956"/>
            <a:ext cx="4615180" cy="677365"/>
          </a:xfrm>
          <a:prstGeom prst="rect">
            <a:avLst/>
          </a:prstGeom>
          <a:noFill/>
        </p:spPr>
        <p:txBody>
          <a:bodyPr wrap="square" lIns="0" tIns="0" rIns="0" bIns="0" rtlCol="0">
            <a:spAutoFit/>
          </a:bodyPr>
          <a:lstStyle/>
          <a:p>
            <a:pPr>
              <a:lnSpc>
                <a:spcPct val="106000"/>
              </a:lnSpc>
              <a:buFont typeface="Wingdings 2" pitchFamily="18" charset="2"/>
              <a:buNone/>
            </a:pPr>
            <a:r>
              <a:rPr lang="de-AT" sz="1400">
                <a:latin typeface="Aptos" panose="020B0004020202020204" pitchFamily="34" charset="0"/>
                <a:ea typeface="Calibri Light" panose="020F0302020204030204" pitchFamily="34" charset="0"/>
                <a:cs typeface="Calibri Light" panose="020F0302020204030204" pitchFamily="34" charset="0"/>
              </a:rPr>
              <a:t>Sicherheitsbewusstsein schaffen, Risiken sichtbar machen und Mitarbeitende sensibilisieren. Ohne diese Grundlage fehlt das Verständnis für den Wandel.</a:t>
            </a:r>
            <a:endParaRPr lang="de-AT" sz="1400"/>
          </a:p>
        </p:txBody>
      </p:sp>
      <p:sp>
        <p:nvSpPr>
          <p:cNvPr id="2308" name="TextBox 2307">
            <a:extLst>
              <a:ext uri="{FF2B5EF4-FFF2-40B4-BE49-F238E27FC236}">
                <a16:creationId xmlns:a16="http://schemas.microsoft.com/office/drawing/2014/main" id="{1FD80F4D-FEC9-7778-A66C-E57BA8E68046}"/>
              </a:ext>
            </a:extLst>
          </p:cNvPr>
          <p:cNvSpPr txBox="1">
            <a:spLocks/>
          </p:cNvSpPr>
          <p:nvPr/>
        </p:nvSpPr>
        <p:spPr>
          <a:xfrm>
            <a:off x="7206763" y="4272843"/>
            <a:ext cx="4615180" cy="677365"/>
          </a:xfrm>
          <a:prstGeom prst="rect">
            <a:avLst/>
          </a:prstGeom>
          <a:noFill/>
        </p:spPr>
        <p:txBody>
          <a:bodyPr wrap="square" lIns="0" tIns="0" rIns="0" bIns="0" rtlCol="0">
            <a:spAutoFit/>
          </a:bodyPr>
          <a:lstStyle/>
          <a:p>
            <a:pPr>
              <a:lnSpc>
                <a:spcPct val="106000"/>
              </a:lnSpc>
              <a:buFont typeface="Wingdings 2" pitchFamily="18" charset="2"/>
              <a:buNone/>
            </a:pPr>
            <a:r>
              <a:rPr lang="de-AT" sz="1400">
                <a:latin typeface="Aptos" panose="020B0004020202020204" pitchFamily="34" charset="0"/>
                <a:ea typeface="Calibri Light" panose="020F0302020204030204" pitchFamily="34" charset="0"/>
                <a:cs typeface="Calibri Light" panose="020F0302020204030204" pitchFamily="34" charset="0"/>
              </a:rPr>
              <a:t>IT &amp; OT sowie globale Standorte verbinden. Schnittstellen-Teams und gemeinsame Roadmaps überwinden Silos und schaffen gemeinsame Lösungen.</a:t>
            </a:r>
            <a:endParaRPr lang="de-AT" sz="1400"/>
          </a:p>
        </p:txBody>
      </p:sp>
      <p:sp>
        <p:nvSpPr>
          <p:cNvPr id="2309" name="TextBox 2308">
            <a:extLst>
              <a:ext uri="{FF2B5EF4-FFF2-40B4-BE49-F238E27FC236}">
                <a16:creationId xmlns:a16="http://schemas.microsoft.com/office/drawing/2014/main" id="{4B004431-9301-E14D-E091-235034C646F6}"/>
              </a:ext>
            </a:extLst>
          </p:cNvPr>
          <p:cNvSpPr txBox="1">
            <a:spLocks/>
          </p:cNvSpPr>
          <p:nvPr/>
        </p:nvSpPr>
        <p:spPr>
          <a:xfrm>
            <a:off x="7206763" y="3275209"/>
            <a:ext cx="4615180" cy="677365"/>
          </a:xfrm>
          <a:prstGeom prst="rect">
            <a:avLst/>
          </a:prstGeom>
          <a:noFill/>
        </p:spPr>
        <p:txBody>
          <a:bodyPr wrap="square" lIns="0" tIns="0" rIns="0" bIns="0" rtlCol="0">
            <a:spAutoFit/>
          </a:bodyPr>
          <a:lstStyle/>
          <a:p>
            <a:pPr>
              <a:lnSpc>
                <a:spcPct val="106000"/>
              </a:lnSpc>
              <a:buFont typeface="Wingdings 2" pitchFamily="18" charset="2"/>
              <a:buNone/>
            </a:pPr>
            <a:r>
              <a:rPr lang="de-AT" sz="1400">
                <a:latin typeface="Aptos" panose="020B0004020202020204" pitchFamily="34" charset="0"/>
                <a:ea typeface="Calibri Light" panose="020F0302020204030204" pitchFamily="34" charset="0"/>
                <a:cs typeface="Calibri Light" panose="020F0302020204030204" pitchFamily="34" charset="0"/>
              </a:rPr>
              <a:t>Transparente Prozesse und realistische Vorgaben etablieren.</a:t>
            </a:r>
          </a:p>
          <a:p>
            <a:pPr>
              <a:lnSpc>
                <a:spcPct val="106000"/>
              </a:lnSpc>
              <a:buFont typeface="Wingdings 2" pitchFamily="18" charset="2"/>
              <a:buNone/>
            </a:pPr>
            <a:r>
              <a:rPr lang="de-AT" sz="1400">
                <a:latin typeface="Aptos" panose="020B0004020202020204" pitchFamily="34" charset="0"/>
                <a:ea typeface="Calibri Light" panose="020F0302020204030204" pitchFamily="34" charset="0"/>
                <a:cs typeface="Calibri Light" panose="020F0302020204030204" pitchFamily="34" charset="0"/>
              </a:rPr>
              <a:t>Verantwortung an lokale Teams delegieren, statt zentrale Kontrolle auszuüben.</a:t>
            </a:r>
            <a:endParaRPr lang="de-AT" sz="1400"/>
          </a:p>
        </p:txBody>
      </p:sp>
      <p:sp>
        <p:nvSpPr>
          <p:cNvPr id="2310" name="TextBox 2309">
            <a:extLst>
              <a:ext uri="{FF2B5EF4-FFF2-40B4-BE49-F238E27FC236}">
                <a16:creationId xmlns:a16="http://schemas.microsoft.com/office/drawing/2014/main" id="{528DE0C6-0B2C-37C7-EA4B-80E511837CC5}"/>
              </a:ext>
            </a:extLst>
          </p:cNvPr>
          <p:cNvSpPr txBox="1">
            <a:spLocks/>
          </p:cNvSpPr>
          <p:nvPr/>
        </p:nvSpPr>
        <p:spPr>
          <a:xfrm>
            <a:off x="7206763" y="2247734"/>
            <a:ext cx="4615180" cy="905761"/>
          </a:xfrm>
          <a:prstGeom prst="rect">
            <a:avLst/>
          </a:prstGeom>
          <a:noFill/>
        </p:spPr>
        <p:txBody>
          <a:bodyPr wrap="square" lIns="0" tIns="0" rIns="0" bIns="0" rtlCol="0">
            <a:spAutoFit/>
          </a:bodyPr>
          <a:lstStyle/>
          <a:p>
            <a:pPr>
              <a:lnSpc>
                <a:spcPct val="106000"/>
              </a:lnSpc>
              <a:buFont typeface="Wingdings 2" pitchFamily="18" charset="2"/>
              <a:buNone/>
            </a:pPr>
            <a:r>
              <a:rPr lang="de-AT" sz="1400">
                <a:latin typeface="Aptos" panose="020B0004020202020204" pitchFamily="34" charset="0"/>
                <a:ea typeface="Calibri Light" panose="020F0302020204030204" pitchFamily="34" charset="0"/>
                <a:cs typeface="Calibri Light" panose="020F0302020204030204" pitchFamily="34" charset="0"/>
              </a:rPr>
              <a:t>Eine anpassungsfähige, lokal verankerte Kultur, vorgelebt vom Top-Management, getragen von Menschen, die sich einbezogen fühlen, als belastbare, globale Sicherheitsstrategie.</a:t>
            </a:r>
            <a:endParaRPr lang="de-AT" sz="1400"/>
          </a:p>
        </p:txBody>
      </p:sp>
    </p:spTree>
    <p:extLst>
      <p:ext uri="{BB962C8B-B14F-4D97-AF65-F5344CB8AC3E}">
        <p14:creationId xmlns:p14="http://schemas.microsoft.com/office/powerpoint/2010/main" val="13501161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2324" name="think-cell data - do not delete" hidden="1">
            <a:extLst>
              <a:ext uri="{FF2B5EF4-FFF2-40B4-BE49-F238E27FC236}">
                <a16:creationId xmlns:a16="http://schemas.microsoft.com/office/drawing/2014/main" id="{B6146BD9-A8F0-5EED-7DAD-7E711BA6A575}"/>
              </a:ext>
            </a:extLst>
          </p:cNvPr>
          <p:cNvGraphicFramePr>
            <a:graphicFrameLocks noChangeAspect="1"/>
          </p:cNvGraphicFramePr>
          <p:nvPr>
            <p:custDataLst>
              <p:tags r:id="rId1"/>
            </p:custDataLst>
            <p:extLst>
              <p:ext uri="{D42A27DB-BD31-4B8C-83A1-F6EECF244321}">
                <p14:modId xmlns:p14="http://schemas.microsoft.com/office/powerpoint/2010/main" val="46966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324" name="think-cell data - do not delete" hidden="1">
                        <a:extLst>
                          <a:ext uri="{FF2B5EF4-FFF2-40B4-BE49-F238E27FC236}">
                            <a16:creationId xmlns:a16="http://schemas.microsoft.com/office/drawing/2014/main" id="{B6146BD9-A8F0-5EED-7DAD-7E711BA6A5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a:solidFill>
                  <a:srgbClr val="53565A"/>
                </a:solidFill>
                <a:cs typeface="Calibri" panose="020F0502020204030204" pitchFamily="34" charset="0"/>
              </a:rPr>
              <a:t>Q&amp;A</a:t>
            </a: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a:t>Fragen &amp; Diskussion</a:t>
            </a:r>
          </a:p>
        </p:txBody>
      </p:sp>
      <p:sp>
        <p:nvSpPr>
          <p:cNvPr id="14" name="Rectangle 13">
            <a:extLst>
              <a:ext uri="{FF2B5EF4-FFF2-40B4-BE49-F238E27FC236}">
                <a16:creationId xmlns:a16="http://schemas.microsoft.com/office/drawing/2014/main" id="{260156A2-D6E9-3C7F-877F-126048FE8601}"/>
              </a:ext>
            </a:extLst>
          </p:cNvPr>
          <p:cNvSpPr>
            <a:spLocks/>
          </p:cNvSpPr>
          <p:nvPr/>
        </p:nvSpPr>
        <p:spPr bwMode="gray">
          <a:xfrm>
            <a:off x="0" y="2141621"/>
            <a:ext cx="12192000" cy="2961692"/>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300">
              <a:solidFill>
                <a:schemeClr val="bg1"/>
              </a:solidFill>
            </a:endParaRPr>
          </a:p>
        </p:txBody>
      </p:sp>
      <p:grpSp>
        <p:nvGrpSpPr>
          <p:cNvPr id="15" name="Group 14">
            <a:extLst>
              <a:ext uri="{FF2B5EF4-FFF2-40B4-BE49-F238E27FC236}">
                <a16:creationId xmlns:a16="http://schemas.microsoft.com/office/drawing/2014/main" id="{A604404F-CAF6-D1E0-392B-3A6ECA298BAD}"/>
              </a:ext>
            </a:extLst>
          </p:cNvPr>
          <p:cNvGrpSpPr>
            <a:grpSpLocks noChangeAspect="1"/>
          </p:cNvGrpSpPr>
          <p:nvPr/>
        </p:nvGrpSpPr>
        <p:grpSpPr>
          <a:xfrm>
            <a:off x="5152571" y="2679038"/>
            <a:ext cx="1886858" cy="1886858"/>
            <a:chOff x="7934074" y="2519312"/>
            <a:chExt cx="370106" cy="370106"/>
          </a:xfrm>
          <a:solidFill>
            <a:schemeClr val="accent3"/>
          </a:solidFill>
        </p:grpSpPr>
        <p:grpSp>
          <p:nvGrpSpPr>
            <p:cNvPr id="16" name="Group 245">
              <a:extLst>
                <a:ext uri="{FF2B5EF4-FFF2-40B4-BE49-F238E27FC236}">
                  <a16:creationId xmlns:a16="http://schemas.microsoft.com/office/drawing/2014/main" id="{347FFEC6-6004-649E-A48B-E1B0E3F34731}"/>
                </a:ext>
              </a:extLst>
            </p:cNvPr>
            <p:cNvGrpSpPr>
              <a:grpSpLocks noChangeAspect="1"/>
            </p:cNvGrpSpPr>
            <p:nvPr/>
          </p:nvGrpSpPr>
          <p:grpSpPr bwMode="gray">
            <a:xfrm>
              <a:off x="8094280" y="2685260"/>
              <a:ext cx="161896" cy="140513"/>
              <a:chOff x="3538" y="884"/>
              <a:chExt cx="212" cy="184"/>
            </a:xfrm>
            <a:grpFill/>
          </p:grpSpPr>
          <p:sp>
            <p:nvSpPr>
              <p:cNvPr id="23" name="Freeform 247">
                <a:extLst>
                  <a:ext uri="{FF2B5EF4-FFF2-40B4-BE49-F238E27FC236}">
                    <a16:creationId xmlns:a16="http://schemas.microsoft.com/office/drawing/2014/main" id="{9C6C27A4-9BEA-5E02-7EF4-B0704BE73D30}"/>
                  </a:ext>
                </a:extLst>
              </p:cNvPr>
              <p:cNvSpPr>
                <a:spLocks noEditPoints="1"/>
              </p:cNvSpPr>
              <p:nvPr/>
            </p:nvSpPr>
            <p:spPr bwMode="gray">
              <a:xfrm>
                <a:off x="3538"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sp>
            <p:nvSpPr>
              <p:cNvPr id="24" name="Freeform 248">
                <a:extLst>
                  <a:ext uri="{FF2B5EF4-FFF2-40B4-BE49-F238E27FC236}">
                    <a16:creationId xmlns:a16="http://schemas.microsoft.com/office/drawing/2014/main" id="{C42E41F6-1BBF-29E9-A567-6FBC89C54CC0}"/>
                  </a:ext>
                </a:extLst>
              </p:cNvPr>
              <p:cNvSpPr>
                <a:spLocks/>
              </p:cNvSpPr>
              <p:nvPr/>
            </p:nvSpPr>
            <p:spPr bwMode="gray">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249">
                <a:extLst>
                  <a:ext uri="{FF2B5EF4-FFF2-40B4-BE49-F238E27FC236}">
                    <a16:creationId xmlns:a16="http://schemas.microsoft.com/office/drawing/2014/main" id="{BD4AE60B-C0B2-5C37-7789-A73FEE0E2436}"/>
                  </a:ext>
                </a:extLst>
              </p:cNvPr>
              <p:cNvSpPr>
                <a:spLocks/>
              </p:cNvSpPr>
              <p:nvPr/>
            </p:nvSpPr>
            <p:spPr bwMode="gray">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sp>
            <p:nvSpPr>
              <p:cNvPr id="28" name="Freeform 250">
                <a:extLst>
                  <a:ext uri="{FF2B5EF4-FFF2-40B4-BE49-F238E27FC236}">
                    <a16:creationId xmlns:a16="http://schemas.microsoft.com/office/drawing/2014/main" id="{2F761399-2EAC-CE82-806D-5447BFA002BC}"/>
                  </a:ext>
                </a:extLst>
              </p:cNvPr>
              <p:cNvSpPr>
                <a:spLocks/>
              </p:cNvSpPr>
              <p:nvPr/>
            </p:nvSpPr>
            <p:spPr bwMode="gray">
              <a:xfrm>
                <a:off x="3572" y="974"/>
                <a:ext cx="105" cy="26"/>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7" name="Freeform 488">
              <a:extLst>
                <a:ext uri="{FF2B5EF4-FFF2-40B4-BE49-F238E27FC236}">
                  <a16:creationId xmlns:a16="http://schemas.microsoft.com/office/drawing/2014/main" id="{CB6C4C87-8261-7E59-4F1B-D38C3A054911}"/>
                </a:ext>
              </a:extLst>
            </p:cNvPr>
            <p:cNvSpPr>
              <a:spLocks noEditPoints="1"/>
            </p:cNvSpPr>
            <p:nvPr/>
          </p:nvSpPr>
          <p:spPr bwMode="gray">
            <a:xfrm>
              <a:off x="7934074" y="2519312"/>
              <a:ext cx="370106"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19" name="Group 18">
              <a:extLst>
                <a:ext uri="{FF2B5EF4-FFF2-40B4-BE49-F238E27FC236}">
                  <a16:creationId xmlns:a16="http://schemas.microsoft.com/office/drawing/2014/main" id="{FCBC135F-C8AA-BC3C-D7CC-9FF503258B85}"/>
                </a:ext>
              </a:extLst>
            </p:cNvPr>
            <p:cNvGrpSpPr>
              <a:grpSpLocks noChangeAspect="1"/>
            </p:cNvGrpSpPr>
            <p:nvPr/>
          </p:nvGrpSpPr>
          <p:grpSpPr>
            <a:xfrm>
              <a:off x="8000798" y="2584385"/>
              <a:ext cx="96813" cy="162371"/>
              <a:chOff x="8050207" y="3694765"/>
              <a:chExt cx="137840" cy="231180"/>
            </a:xfrm>
            <a:grpFill/>
          </p:grpSpPr>
          <p:sp>
            <p:nvSpPr>
              <p:cNvPr id="21" name="Freeform 489">
                <a:extLst>
                  <a:ext uri="{FF2B5EF4-FFF2-40B4-BE49-F238E27FC236}">
                    <a16:creationId xmlns:a16="http://schemas.microsoft.com/office/drawing/2014/main" id="{415E9C3D-0E4C-C9B3-E08A-FB1B6E23015F}"/>
                  </a:ext>
                </a:extLst>
              </p:cNvPr>
              <p:cNvSpPr>
                <a:spLocks noEditPoints="1"/>
              </p:cNvSpPr>
              <p:nvPr/>
            </p:nvSpPr>
            <p:spPr bwMode="gray">
              <a:xfrm>
                <a:off x="8095792" y="3879275"/>
                <a:ext cx="46670" cy="46670"/>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sp>
            <p:nvSpPr>
              <p:cNvPr id="22" name="Freeform 490">
                <a:extLst>
                  <a:ext uri="{FF2B5EF4-FFF2-40B4-BE49-F238E27FC236}">
                    <a16:creationId xmlns:a16="http://schemas.microsoft.com/office/drawing/2014/main" id="{8F52B831-326B-1378-74D6-2B916079009A}"/>
                  </a:ext>
                </a:extLst>
              </p:cNvPr>
              <p:cNvSpPr>
                <a:spLocks noEditPoints="1"/>
              </p:cNvSpPr>
              <p:nvPr/>
            </p:nvSpPr>
            <p:spPr bwMode="gray">
              <a:xfrm>
                <a:off x="8050207" y="3694765"/>
                <a:ext cx="137840" cy="169315"/>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solidFill>
                <a:schemeClr val="bg1">
                  <a:lumMod val="100000"/>
                </a:schemeClr>
              </a:solidFill>
              <a:ln w="9525">
                <a:noFill/>
                <a:round/>
                <a:headEnd/>
                <a:tailEnd/>
              </a:ln>
              <a:extLst>
                <a:ext uri="{91240B29-F687-4F45-9708-019B960494DF}">
                  <a14:hiddenLine xmlns:a14="http://schemas.microsoft.com/office/drawing/2010/main" w="9525" cap="flat" cmpd="sng" algn="ctr">
                    <a:solidFill>
                      <a:schemeClr val="accent3">
                        <a:lumMod val="100000"/>
                        <a:alpha val="0"/>
                      </a:scheme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24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29169894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69900" y="4102100"/>
            <a:ext cx="8236906" cy="2246229"/>
          </a:xfrm>
        </p:spPr>
        <p:txBody>
          <a:bodyPr>
            <a:noAutofit/>
          </a:bodyPr>
          <a:lstStyle/>
          <a:p>
            <a:r>
              <a:rPr lang="en-US">
                <a:latin typeface="Calibri Light" panose="020F0302020204030204" pitchFamily="34" charset="0"/>
                <a:ea typeface="Open Sans" panose="020B0606030504020204" pitchFamily="34" charset="0"/>
                <a:cs typeface="Calibri Light" panose="020F0302020204030204" pitchFamily="34" charset="0"/>
              </a:rPr>
              <a:t>Deloitte refers to one or more of Deloitte </a:t>
            </a:r>
            <a:r>
              <a:rPr lang="en-US" err="1">
                <a:latin typeface="Calibri Light" panose="020F0302020204030204" pitchFamily="34" charset="0"/>
                <a:ea typeface="Open Sans" panose="020B0606030504020204" pitchFamily="34" charset="0"/>
                <a:cs typeface="Calibri Light" panose="020F0302020204030204" pitchFamily="34" charset="0"/>
              </a:rPr>
              <a:t>Touche</a:t>
            </a:r>
            <a:r>
              <a:rPr lang="en-US">
                <a:latin typeface="Calibri Light" panose="020F0302020204030204" pitchFamily="34" charset="0"/>
                <a:ea typeface="Open Sans" panose="020B0606030504020204" pitchFamily="34" charset="0"/>
                <a:cs typeface="Calibri Light" panose="020F030202020403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de/UeberUns for a more detailed description of DTTL and its member firms.</a:t>
            </a:r>
          </a:p>
          <a:p>
            <a:r>
              <a:rPr lang="en-US">
                <a:latin typeface="Calibri Light" panose="020F0302020204030204" pitchFamily="34" charset="0"/>
                <a:ea typeface="Open Sans" panose="020B0606030504020204" pitchFamily="34" charset="0"/>
                <a:cs typeface="Calibri Light" panose="020F0302020204030204" pitchFamily="34" charset="0"/>
              </a:rPr>
              <a:t>Deloitte provides audit, risk advisory, tax, financial advisory and consulting services to public and private clients spanning multiple industries; legal advisory services in Germany are provided by Deloitte Legal. With a globally connected network of member firms in more than 150 countries, Deloitte brings world-class capabilities and high-quality service to clients, delivering the insights they need to address their most complex business challenges. Deloitte’s approximately 312,000 professionals are committed to making an impact that matters.</a:t>
            </a:r>
          </a:p>
          <a:p>
            <a:r>
              <a:rPr lang="en-US">
                <a:latin typeface="Calibri Light" panose="020F0302020204030204" pitchFamily="34" charset="0"/>
                <a:ea typeface="Open Sans" panose="020B0606030504020204" pitchFamily="34" charset="0"/>
                <a:cs typeface="Calibri Light" panose="020F0302020204030204" pitchFamily="34" charset="0"/>
              </a:rPr>
              <a:t>This presentation contains general information only, and none of Deloitte Consulting GmbH or Deloitte </a:t>
            </a:r>
            <a:r>
              <a:rPr lang="en-US" err="1">
                <a:latin typeface="Calibri Light" panose="020F0302020204030204" pitchFamily="34" charset="0"/>
                <a:ea typeface="Open Sans" panose="020B0606030504020204" pitchFamily="34" charset="0"/>
                <a:cs typeface="Calibri Light" panose="020F0302020204030204" pitchFamily="34" charset="0"/>
              </a:rPr>
              <a:t>Touche</a:t>
            </a:r>
            <a:r>
              <a:rPr lang="en-US">
                <a:latin typeface="Calibri Light" panose="020F0302020204030204" pitchFamily="34" charset="0"/>
                <a:ea typeface="Open Sans" panose="020B0606030504020204" pitchFamily="34" charset="0"/>
                <a:cs typeface="Calibri Light" panose="020F0302020204030204" pitchFamily="34" charset="0"/>
              </a:rPr>
              <a:t> Tohmatsu Limited (“DTTL”), any of DTTL’s member firms, or any of the foregoing’s affiliates (collectively, the “Deloitte Network”) are, by means of this presentation, rendering professional advice or services. In particular this presentation cannot be used as a substitute for such professional advice. No entity in the Deloitte Network shall be responsible for any loss whatsoever sustained by any person who relies on this presentation. This presentation is to be treated confidential. Any disclosure to third parties – in whole or in part – is subject to our prior written consent.</a:t>
            </a:r>
          </a:p>
          <a:p>
            <a:r>
              <a:rPr lang="en-US">
                <a:latin typeface="Calibri Light" panose="020F0302020204030204" pitchFamily="34" charset="0"/>
                <a:ea typeface="Open Sans" panose="020B0606030504020204" pitchFamily="34" charset="0"/>
                <a:cs typeface="Calibri Light" panose="020F0302020204030204" pitchFamily="34" charset="0"/>
              </a:rPr>
              <a:t>For further information please contact Deloitte Consulting GmbH .</a:t>
            </a:r>
          </a:p>
          <a:p>
            <a:r>
              <a:rPr lang="en-US" err="1">
                <a:latin typeface="Calibri Light" panose="020F0302020204030204" pitchFamily="34" charset="0"/>
                <a:ea typeface="Open Sans" panose="020B0606030504020204" pitchFamily="34" charset="0"/>
                <a:cs typeface="Calibri Light" panose="020F0302020204030204" pitchFamily="34" charset="0"/>
              </a:rPr>
              <a:t>Gesellschaftssitz</a:t>
            </a:r>
            <a:r>
              <a:rPr lang="en-US">
                <a:latin typeface="Calibri Light" panose="020F0302020204030204" pitchFamily="34" charset="0"/>
                <a:ea typeface="Open Sans" panose="020B0606030504020204" pitchFamily="34" charset="0"/>
                <a:cs typeface="Calibri Light" panose="020F0302020204030204" pitchFamily="34" charset="0"/>
              </a:rPr>
              <a:t> Wien | </a:t>
            </a:r>
            <a:r>
              <a:rPr lang="en-US" err="1">
                <a:latin typeface="Calibri Light" panose="020F0302020204030204" pitchFamily="34" charset="0"/>
                <a:ea typeface="Open Sans" panose="020B0606030504020204" pitchFamily="34" charset="0"/>
                <a:cs typeface="Calibri Light" panose="020F0302020204030204" pitchFamily="34" charset="0"/>
              </a:rPr>
              <a:t>Handelsgericht</a:t>
            </a:r>
            <a:r>
              <a:rPr lang="en-US">
                <a:latin typeface="Calibri Light" panose="020F0302020204030204" pitchFamily="34" charset="0"/>
                <a:ea typeface="Open Sans" panose="020B0606030504020204" pitchFamily="34" charset="0"/>
                <a:cs typeface="Calibri Light" panose="020F0302020204030204" pitchFamily="34" charset="0"/>
              </a:rPr>
              <a:t> Wien | FN 212552 b</a:t>
            </a:r>
          </a:p>
        </p:txBody>
      </p:sp>
      <p:sp>
        <p:nvSpPr>
          <p:cNvPr id="5" name="TextBox 4">
            <a:extLst>
              <a:ext uri="{FF2B5EF4-FFF2-40B4-BE49-F238E27FC236}">
                <a16:creationId xmlns:a16="http://schemas.microsoft.com/office/drawing/2014/main" id="{BE6EB815-7FE2-4614-BECA-9C1B8C46FE93}"/>
              </a:ext>
            </a:extLst>
          </p:cNvPr>
          <p:cNvSpPr txBox="1"/>
          <p:nvPr/>
        </p:nvSpPr>
        <p:spPr>
          <a:xfrm>
            <a:off x="11607804" y="6483796"/>
            <a:ext cx="279399" cy="92333"/>
          </a:xfrm>
          <a:prstGeom prst="rect">
            <a:avLst/>
          </a:prstGeom>
          <a:noFill/>
        </p:spPr>
        <p:txBody>
          <a:bodyPr wrap="square" lIns="0" tIns="0" rIns="0" bIns="0" rtlCol="0">
            <a:spAutoFit/>
          </a:bodyPr>
          <a:lstStyle/>
          <a:p>
            <a:pPr>
              <a:spcBef>
                <a:spcPts val="600"/>
              </a:spcBef>
              <a:buSzPct val="100000"/>
            </a:pPr>
            <a:r>
              <a:rPr lang="en-US" sz="600">
                <a:solidFill>
                  <a:srgbClr val="313131"/>
                </a:solidFill>
              </a:rPr>
              <a:t>33</a:t>
            </a:r>
          </a:p>
        </p:txBody>
      </p:sp>
    </p:spTree>
    <p:custDataLst>
      <p:custData r:id="rId1"/>
      <p:custData r:id="rId2"/>
    </p:custDataLst>
    <p:extLst>
      <p:ext uri="{BB962C8B-B14F-4D97-AF65-F5344CB8AC3E}">
        <p14:creationId xmlns:p14="http://schemas.microsoft.com/office/powerpoint/2010/main" val="3276766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EAA98A4F-395F-8925-003C-FF3D2F9DEE43}"/>
              </a:ext>
            </a:extLst>
          </p:cNvPr>
          <p:cNvGraphicFramePr>
            <a:graphicFrameLocks noChangeAspect="1"/>
          </p:cNvGraphicFramePr>
          <p:nvPr>
            <p:custDataLst>
              <p:tags r:id="rId1"/>
            </p:custDataLst>
            <p:extLst>
              <p:ext uri="{D42A27DB-BD31-4B8C-83A1-F6EECF244321}">
                <p14:modId xmlns:p14="http://schemas.microsoft.com/office/powerpoint/2010/main" val="418001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2" name="think-cell data - do not delete" hidden="1">
                        <a:extLst>
                          <a:ext uri="{FF2B5EF4-FFF2-40B4-BE49-F238E27FC236}">
                            <a16:creationId xmlns:a16="http://schemas.microsoft.com/office/drawing/2014/main" id="{EAA98A4F-395F-8925-003C-FF3D2F9DEE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dirty="0">
                <a:solidFill>
                  <a:srgbClr val="53565A"/>
                </a:solidFill>
                <a:cs typeface="Calibri" panose="020F0502020204030204" pitchFamily="34" charset="0"/>
              </a:rPr>
              <a:t>Ihr Deloitte Team</a:t>
            </a:r>
            <a:endParaRPr lang="en-GB" dirty="0">
              <a:solidFill>
                <a:srgbClr val="53565A"/>
              </a:solidFill>
              <a:cs typeface="Calibri" panose="020F0502020204030204" pitchFamily="34" charset="0"/>
            </a:endParaRP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dirty="0"/>
              <a:t>Wir freuen uns auf den heutigen Vortrag</a:t>
            </a:r>
            <a:endParaRPr lang="en-GB" dirty="0"/>
          </a:p>
        </p:txBody>
      </p:sp>
      <p:sp>
        <p:nvSpPr>
          <p:cNvPr id="8" name="Text Placeholder 5">
            <a:extLst>
              <a:ext uri="{FF2B5EF4-FFF2-40B4-BE49-F238E27FC236}">
                <a16:creationId xmlns:a16="http://schemas.microsoft.com/office/drawing/2014/main" id="{B9CFCC66-5076-0798-8F16-5E603B036B5C}"/>
              </a:ext>
            </a:extLst>
          </p:cNvPr>
          <p:cNvSpPr txBox="1">
            <a:spLocks/>
          </p:cNvSpPr>
          <p:nvPr/>
        </p:nvSpPr>
        <p:spPr>
          <a:xfrm>
            <a:off x="3773147" y="4199937"/>
            <a:ext cx="2224714" cy="80775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50000"/>
              </a:lnSpc>
              <a:spcBef>
                <a:spcPts val="0"/>
              </a:spcBef>
            </a:pPr>
            <a:r>
              <a:rPr lang="en-US" sz="1400" b="1" dirty="0">
                <a:solidFill>
                  <a:schemeClr val="tx1"/>
                </a:solidFill>
                <a:latin typeface="Aptos" panose="020B0004020202020204" pitchFamily="34" charset="0"/>
              </a:rPr>
              <a:t>Ilyas Demirtas</a:t>
            </a:r>
          </a:p>
          <a:p>
            <a:pPr lvl="0" algn="ctr">
              <a:lnSpc>
                <a:spcPct val="150000"/>
              </a:lnSpc>
              <a:spcBef>
                <a:spcPts val="0"/>
              </a:spcBef>
            </a:pPr>
            <a:r>
              <a:rPr lang="en-US" sz="1100" dirty="0">
                <a:solidFill>
                  <a:schemeClr val="accent1"/>
                </a:solidFill>
                <a:latin typeface="Aptos" panose="020B0004020202020204" pitchFamily="34" charset="0"/>
                <a:ea typeface="+mn-ea"/>
                <a:cs typeface="Calibri Light" panose="020F0302020204030204" pitchFamily="34" charset="0"/>
              </a:rPr>
              <a:t>Manager, Application Security Lead</a:t>
            </a:r>
          </a:p>
          <a:p>
            <a:pPr lvl="0" algn="ctr">
              <a:lnSpc>
                <a:spcPct val="150000"/>
              </a:lnSpc>
              <a:spcBef>
                <a:spcPts val="0"/>
              </a:spcBef>
            </a:pPr>
            <a:r>
              <a:rPr lang="en-US" sz="1100" dirty="0">
                <a:solidFill>
                  <a:schemeClr val="tx1"/>
                </a:solidFill>
                <a:latin typeface="Aptos" panose="020B0004020202020204" pitchFamily="34" charset="0"/>
                <a:hlinkClick r:id="rId6"/>
              </a:rPr>
              <a:t>idemirtas@deloitte.at</a:t>
            </a:r>
            <a:endParaRPr lang="en-US" sz="1100" dirty="0">
              <a:solidFill>
                <a:schemeClr val="tx1"/>
              </a:solidFill>
              <a:latin typeface="Aptos" panose="020B0004020202020204" pitchFamily="34" charset="0"/>
            </a:endParaRPr>
          </a:p>
          <a:p>
            <a:pPr lvl="0" algn="ctr">
              <a:lnSpc>
                <a:spcPct val="150000"/>
              </a:lnSpc>
              <a:spcBef>
                <a:spcPts val="0"/>
              </a:spcBef>
            </a:pPr>
            <a:endParaRPr lang="en-US" sz="1100" dirty="0">
              <a:solidFill>
                <a:schemeClr val="tx1"/>
              </a:solidFill>
              <a:latin typeface="Aptos" panose="020B0004020202020204" pitchFamily="34" charset="0"/>
            </a:endParaRPr>
          </a:p>
        </p:txBody>
      </p:sp>
      <p:grpSp>
        <p:nvGrpSpPr>
          <p:cNvPr id="14" name="Group 13">
            <a:extLst>
              <a:ext uri="{FF2B5EF4-FFF2-40B4-BE49-F238E27FC236}">
                <a16:creationId xmlns:a16="http://schemas.microsoft.com/office/drawing/2014/main" id="{B9072B44-B2A5-9BAA-3555-CAF044B59ED6}"/>
              </a:ext>
            </a:extLst>
          </p:cNvPr>
          <p:cNvGrpSpPr/>
          <p:nvPr/>
        </p:nvGrpSpPr>
        <p:grpSpPr>
          <a:xfrm>
            <a:off x="4065000" y="2427796"/>
            <a:ext cx="1639045" cy="1639045"/>
            <a:chOff x="6216264" y="2425249"/>
            <a:chExt cx="1639045" cy="1639045"/>
          </a:xfrm>
        </p:grpSpPr>
        <p:sp>
          <p:nvSpPr>
            <p:cNvPr id="15" name="Ellipse 18">
              <a:extLst>
                <a:ext uri="{FF2B5EF4-FFF2-40B4-BE49-F238E27FC236}">
                  <a16:creationId xmlns:a16="http://schemas.microsoft.com/office/drawing/2014/main" id="{4DB83792-9D32-61F5-568A-F41F9C7EB620}"/>
                </a:ext>
              </a:extLst>
            </p:cNvPr>
            <p:cNvSpPr/>
            <p:nvPr/>
          </p:nvSpPr>
          <p:spPr bwMode="gray">
            <a:xfrm rot="16189299" flipV="1">
              <a:off x="6216264" y="2425249"/>
              <a:ext cx="1639045" cy="1639045"/>
            </a:xfrm>
            <a:custGeom>
              <a:avLst/>
              <a:gdLst>
                <a:gd name="connsiteX0" fmla="*/ 0 w 766618"/>
                <a:gd name="connsiteY0" fmla="*/ 383309 h 766618"/>
                <a:gd name="connsiteX1" fmla="*/ 383309 w 766618"/>
                <a:gd name="connsiteY1" fmla="*/ 0 h 766618"/>
                <a:gd name="connsiteX2" fmla="*/ 766618 w 766618"/>
                <a:gd name="connsiteY2" fmla="*/ 383309 h 766618"/>
                <a:gd name="connsiteX3" fmla="*/ 383309 w 766618"/>
                <a:gd name="connsiteY3" fmla="*/ 766618 h 766618"/>
                <a:gd name="connsiteX4" fmla="*/ 0 w 766618"/>
                <a:gd name="connsiteY4" fmla="*/ 383309 h 766618"/>
                <a:gd name="connsiteX0" fmla="*/ 766618 w 858058"/>
                <a:gd name="connsiteY0" fmla="*/ 383309 h 766618"/>
                <a:gd name="connsiteX1" fmla="*/ 383309 w 858058"/>
                <a:gd name="connsiteY1" fmla="*/ 766618 h 766618"/>
                <a:gd name="connsiteX2" fmla="*/ 0 w 858058"/>
                <a:gd name="connsiteY2" fmla="*/ 383309 h 766618"/>
                <a:gd name="connsiteX3" fmla="*/ 383309 w 858058"/>
                <a:gd name="connsiteY3" fmla="*/ 0 h 766618"/>
                <a:gd name="connsiteX4" fmla="*/ 858058 w 858058"/>
                <a:gd name="connsiteY4" fmla="*/ 474749 h 766618"/>
                <a:gd name="connsiteX0" fmla="*/ 766618 w 766618"/>
                <a:gd name="connsiteY0" fmla="*/ 383309 h 766618"/>
                <a:gd name="connsiteX1" fmla="*/ 383309 w 766618"/>
                <a:gd name="connsiteY1" fmla="*/ 766618 h 766618"/>
                <a:gd name="connsiteX2" fmla="*/ 0 w 766618"/>
                <a:gd name="connsiteY2" fmla="*/ 383309 h 766618"/>
                <a:gd name="connsiteX3" fmla="*/ 383309 w 766618"/>
                <a:gd name="connsiteY3" fmla="*/ 0 h 766618"/>
              </a:gdLst>
              <a:ahLst/>
              <a:cxnLst>
                <a:cxn ang="0">
                  <a:pos x="connsiteX0" y="connsiteY0"/>
                </a:cxn>
                <a:cxn ang="0">
                  <a:pos x="connsiteX1" y="connsiteY1"/>
                </a:cxn>
                <a:cxn ang="0">
                  <a:pos x="connsiteX2" y="connsiteY2"/>
                </a:cxn>
                <a:cxn ang="0">
                  <a:pos x="connsiteX3" y="connsiteY3"/>
                </a:cxn>
              </a:cxnLst>
              <a:rect l="l" t="t" r="r" b="b"/>
              <a:pathLst>
                <a:path w="766618" h="766618">
                  <a:moveTo>
                    <a:pt x="766618" y="383309"/>
                  </a:moveTo>
                  <a:cubicBezTo>
                    <a:pt x="766618" y="595005"/>
                    <a:pt x="595005" y="766618"/>
                    <a:pt x="383309" y="766618"/>
                  </a:cubicBezTo>
                  <a:cubicBezTo>
                    <a:pt x="171613" y="766618"/>
                    <a:pt x="0" y="595005"/>
                    <a:pt x="0" y="383309"/>
                  </a:cubicBezTo>
                  <a:cubicBezTo>
                    <a:pt x="0" y="171613"/>
                    <a:pt x="171613" y="0"/>
                    <a:pt x="383309" y="0"/>
                  </a:cubicBezTo>
                </a:path>
              </a:pathLst>
            </a:cu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latin typeface="Aptos" panose="020B0004020202020204" pitchFamily="34" charset="0"/>
              </a:endParaRPr>
            </a:p>
          </p:txBody>
        </p:sp>
        <p:sp>
          <p:nvSpPr>
            <p:cNvPr id="16" name="Ellipse 18">
              <a:extLst>
                <a:ext uri="{FF2B5EF4-FFF2-40B4-BE49-F238E27FC236}">
                  <a16:creationId xmlns:a16="http://schemas.microsoft.com/office/drawing/2014/main" id="{532D9622-0982-AB9A-80EB-86DF52D6A444}"/>
                </a:ext>
              </a:extLst>
            </p:cNvPr>
            <p:cNvSpPr/>
            <p:nvPr/>
          </p:nvSpPr>
          <p:spPr bwMode="gray">
            <a:xfrm rot="2617329" flipH="1" flipV="1">
              <a:off x="6326156" y="2529209"/>
              <a:ext cx="1419265" cy="1419265"/>
            </a:xfrm>
            <a:custGeom>
              <a:avLst/>
              <a:gdLst>
                <a:gd name="connsiteX0" fmla="*/ 0 w 766618"/>
                <a:gd name="connsiteY0" fmla="*/ 383309 h 766618"/>
                <a:gd name="connsiteX1" fmla="*/ 383309 w 766618"/>
                <a:gd name="connsiteY1" fmla="*/ 0 h 766618"/>
                <a:gd name="connsiteX2" fmla="*/ 766618 w 766618"/>
                <a:gd name="connsiteY2" fmla="*/ 383309 h 766618"/>
                <a:gd name="connsiteX3" fmla="*/ 383309 w 766618"/>
                <a:gd name="connsiteY3" fmla="*/ 766618 h 766618"/>
                <a:gd name="connsiteX4" fmla="*/ 0 w 766618"/>
                <a:gd name="connsiteY4" fmla="*/ 383309 h 766618"/>
                <a:gd name="connsiteX0" fmla="*/ 766618 w 858058"/>
                <a:gd name="connsiteY0" fmla="*/ 383309 h 766618"/>
                <a:gd name="connsiteX1" fmla="*/ 383309 w 858058"/>
                <a:gd name="connsiteY1" fmla="*/ 766618 h 766618"/>
                <a:gd name="connsiteX2" fmla="*/ 0 w 858058"/>
                <a:gd name="connsiteY2" fmla="*/ 383309 h 766618"/>
                <a:gd name="connsiteX3" fmla="*/ 383309 w 858058"/>
                <a:gd name="connsiteY3" fmla="*/ 0 h 766618"/>
                <a:gd name="connsiteX4" fmla="*/ 858058 w 858058"/>
                <a:gd name="connsiteY4" fmla="*/ 474749 h 766618"/>
                <a:gd name="connsiteX0" fmla="*/ 766618 w 766618"/>
                <a:gd name="connsiteY0" fmla="*/ 383309 h 766618"/>
                <a:gd name="connsiteX1" fmla="*/ 383309 w 766618"/>
                <a:gd name="connsiteY1" fmla="*/ 766618 h 766618"/>
                <a:gd name="connsiteX2" fmla="*/ 0 w 766618"/>
                <a:gd name="connsiteY2" fmla="*/ 383309 h 766618"/>
                <a:gd name="connsiteX3" fmla="*/ 383309 w 766618"/>
                <a:gd name="connsiteY3" fmla="*/ 0 h 766618"/>
              </a:gdLst>
              <a:ahLst/>
              <a:cxnLst>
                <a:cxn ang="0">
                  <a:pos x="connsiteX0" y="connsiteY0"/>
                </a:cxn>
                <a:cxn ang="0">
                  <a:pos x="connsiteX1" y="connsiteY1"/>
                </a:cxn>
                <a:cxn ang="0">
                  <a:pos x="connsiteX2" y="connsiteY2"/>
                </a:cxn>
                <a:cxn ang="0">
                  <a:pos x="connsiteX3" y="connsiteY3"/>
                </a:cxn>
              </a:cxnLst>
              <a:rect l="l" t="t" r="r" b="b"/>
              <a:pathLst>
                <a:path w="766618" h="766618">
                  <a:moveTo>
                    <a:pt x="766618" y="383309"/>
                  </a:moveTo>
                  <a:cubicBezTo>
                    <a:pt x="766618" y="595005"/>
                    <a:pt x="595005" y="766618"/>
                    <a:pt x="383309" y="766618"/>
                  </a:cubicBezTo>
                  <a:cubicBezTo>
                    <a:pt x="171613" y="766618"/>
                    <a:pt x="0" y="595005"/>
                    <a:pt x="0" y="383309"/>
                  </a:cubicBezTo>
                  <a:cubicBezTo>
                    <a:pt x="0" y="171613"/>
                    <a:pt x="171613" y="0"/>
                    <a:pt x="383309" y="0"/>
                  </a:cubicBezTo>
                </a:path>
              </a:pathLst>
            </a:custGeom>
            <a:noFill/>
            <a:ln w="63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latin typeface="Aptos" panose="020B0004020202020204" pitchFamily="34" charset="0"/>
              </a:endParaRPr>
            </a:p>
          </p:txBody>
        </p:sp>
      </p:grpSp>
      <p:sp>
        <p:nvSpPr>
          <p:cNvPr id="30" name="Text Placeholder 5">
            <a:extLst>
              <a:ext uri="{FF2B5EF4-FFF2-40B4-BE49-F238E27FC236}">
                <a16:creationId xmlns:a16="http://schemas.microsoft.com/office/drawing/2014/main" id="{C4043A33-FED8-55AC-D0A5-ADCBB2BE0071}"/>
              </a:ext>
            </a:extLst>
          </p:cNvPr>
          <p:cNvSpPr txBox="1">
            <a:spLocks/>
          </p:cNvSpPr>
          <p:nvPr/>
        </p:nvSpPr>
        <p:spPr>
          <a:xfrm>
            <a:off x="735172" y="4199937"/>
            <a:ext cx="2224714" cy="80775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50000"/>
              </a:lnSpc>
              <a:spcBef>
                <a:spcPts val="0"/>
              </a:spcBef>
            </a:pPr>
            <a:r>
              <a:rPr lang="en-US" sz="1400" b="1" dirty="0">
                <a:solidFill>
                  <a:schemeClr val="tx1"/>
                </a:solidFill>
                <a:latin typeface="Aptos" panose="020B0004020202020204" pitchFamily="34" charset="0"/>
              </a:rPr>
              <a:t>Kai Starik</a:t>
            </a:r>
          </a:p>
          <a:p>
            <a:pPr lvl="0" algn="ctr">
              <a:lnSpc>
                <a:spcPct val="150000"/>
              </a:lnSpc>
              <a:spcBef>
                <a:spcPts val="0"/>
              </a:spcBef>
            </a:pPr>
            <a:r>
              <a:rPr lang="en-US" sz="1100" dirty="0">
                <a:solidFill>
                  <a:schemeClr val="accent1"/>
                </a:solidFill>
                <a:latin typeface="Aptos" panose="020B0004020202020204" pitchFamily="34" charset="0"/>
                <a:ea typeface="+mn-ea"/>
                <a:cs typeface="Calibri Light" panose="020F0302020204030204" pitchFamily="34" charset="0"/>
              </a:rPr>
              <a:t>Manager, OT Security Lead</a:t>
            </a:r>
          </a:p>
          <a:p>
            <a:pPr lvl="0" algn="ctr">
              <a:lnSpc>
                <a:spcPct val="150000"/>
              </a:lnSpc>
              <a:spcBef>
                <a:spcPts val="0"/>
              </a:spcBef>
            </a:pPr>
            <a:r>
              <a:rPr lang="en-US" sz="1100" dirty="0">
                <a:solidFill>
                  <a:schemeClr val="tx1"/>
                </a:solidFill>
                <a:latin typeface="Aptos" panose="020B0004020202020204" pitchFamily="34" charset="0"/>
                <a:hlinkClick r:id="rId7"/>
              </a:rPr>
              <a:t>kstarik@deloitte.at</a:t>
            </a:r>
            <a:endParaRPr lang="en-US" sz="1100" dirty="0">
              <a:solidFill>
                <a:schemeClr val="tx1"/>
              </a:solidFill>
              <a:latin typeface="Aptos" panose="020B0004020202020204" pitchFamily="34" charset="0"/>
            </a:endParaRPr>
          </a:p>
          <a:p>
            <a:pPr lvl="0" algn="ctr">
              <a:lnSpc>
                <a:spcPct val="150000"/>
              </a:lnSpc>
              <a:spcBef>
                <a:spcPts val="0"/>
              </a:spcBef>
            </a:pPr>
            <a:endParaRPr lang="en-US" sz="1100" dirty="0">
              <a:solidFill>
                <a:schemeClr val="tx1"/>
              </a:solidFill>
              <a:latin typeface="Aptos" panose="020B0004020202020204" pitchFamily="34" charset="0"/>
            </a:endParaRPr>
          </a:p>
        </p:txBody>
      </p:sp>
      <p:grpSp>
        <p:nvGrpSpPr>
          <p:cNvPr id="31" name="Group 30">
            <a:extLst>
              <a:ext uri="{FF2B5EF4-FFF2-40B4-BE49-F238E27FC236}">
                <a16:creationId xmlns:a16="http://schemas.microsoft.com/office/drawing/2014/main" id="{1FAC0960-D749-2F6E-E944-5C68D20B0518}"/>
              </a:ext>
            </a:extLst>
          </p:cNvPr>
          <p:cNvGrpSpPr/>
          <p:nvPr/>
        </p:nvGrpSpPr>
        <p:grpSpPr>
          <a:xfrm>
            <a:off x="1027025" y="2427796"/>
            <a:ext cx="1639045" cy="1639045"/>
            <a:chOff x="6216264" y="2425249"/>
            <a:chExt cx="1639045" cy="1639045"/>
          </a:xfrm>
        </p:grpSpPr>
        <p:sp>
          <p:nvSpPr>
            <p:cNvPr id="33" name="Ellipse 18">
              <a:extLst>
                <a:ext uri="{FF2B5EF4-FFF2-40B4-BE49-F238E27FC236}">
                  <a16:creationId xmlns:a16="http://schemas.microsoft.com/office/drawing/2014/main" id="{A84AAD11-384C-675B-9764-8665EC81AEEC}"/>
                </a:ext>
              </a:extLst>
            </p:cNvPr>
            <p:cNvSpPr/>
            <p:nvPr/>
          </p:nvSpPr>
          <p:spPr bwMode="gray">
            <a:xfrm rot="16189299" flipV="1">
              <a:off x="6216264" y="2425249"/>
              <a:ext cx="1639045" cy="1639045"/>
            </a:xfrm>
            <a:custGeom>
              <a:avLst/>
              <a:gdLst>
                <a:gd name="connsiteX0" fmla="*/ 0 w 766618"/>
                <a:gd name="connsiteY0" fmla="*/ 383309 h 766618"/>
                <a:gd name="connsiteX1" fmla="*/ 383309 w 766618"/>
                <a:gd name="connsiteY1" fmla="*/ 0 h 766618"/>
                <a:gd name="connsiteX2" fmla="*/ 766618 w 766618"/>
                <a:gd name="connsiteY2" fmla="*/ 383309 h 766618"/>
                <a:gd name="connsiteX3" fmla="*/ 383309 w 766618"/>
                <a:gd name="connsiteY3" fmla="*/ 766618 h 766618"/>
                <a:gd name="connsiteX4" fmla="*/ 0 w 766618"/>
                <a:gd name="connsiteY4" fmla="*/ 383309 h 766618"/>
                <a:gd name="connsiteX0" fmla="*/ 766618 w 858058"/>
                <a:gd name="connsiteY0" fmla="*/ 383309 h 766618"/>
                <a:gd name="connsiteX1" fmla="*/ 383309 w 858058"/>
                <a:gd name="connsiteY1" fmla="*/ 766618 h 766618"/>
                <a:gd name="connsiteX2" fmla="*/ 0 w 858058"/>
                <a:gd name="connsiteY2" fmla="*/ 383309 h 766618"/>
                <a:gd name="connsiteX3" fmla="*/ 383309 w 858058"/>
                <a:gd name="connsiteY3" fmla="*/ 0 h 766618"/>
                <a:gd name="connsiteX4" fmla="*/ 858058 w 858058"/>
                <a:gd name="connsiteY4" fmla="*/ 474749 h 766618"/>
                <a:gd name="connsiteX0" fmla="*/ 766618 w 766618"/>
                <a:gd name="connsiteY0" fmla="*/ 383309 h 766618"/>
                <a:gd name="connsiteX1" fmla="*/ 383309 w 766618"/>
                <a:gd name="connsiteY1" fmla="*/ 766618 h 766618"/>
                <a:gd name="connsiteX2" fmla="*/ 0 w 766618"/>
                <a:gd name="connsiteY2" fmla="*/ 383309 h 766618"/>
                <a:gd name="connsiteX3" fmla="*/ 383309 w 766618"/>
                <a:gd name="connsiteY3" fmla="*/ 0 h 766618"/>
              </a:gdLst>
              <a:ahLst/>
              <a:cxnLst>
                <a:cxn ang="0">
                  <a:pos x="connsiteX0" y="connsiteY0"/>
                </a:cxn>
                <a:cxn ang="0">
                  <a:pos x="connsiteX1" y="connsiteY1"/>
                </a:cxn>
                <a:cxn ang="0">
                  <a:pos x="connsiteX2" y="connsiteY2"/>
                </a:cxn>
                <a:cxn ang="0">
                  <a:pos x="connsiteX3" y="connsiteY3"/>
                </a:cxn>
              </a:cxnLst>
              <a:rect l="l" t="t" r="r" b="b"/>
              <a:pathLst>
                <a:path w="766618" h="766618">
                  <a:moveTo>
                    <a:pt x="766618" y="383309"/>
                  </a:moveTo>
                  <a:cubicBezTo>
                    <a:pt x="766618" y="595005"/>
                    <a:pt x="595005" y="766618"/>
                    <a:pt x="383309" y="766618"/>
                  </a:cubicBezTo>
                  <a:cubicBezTo>
                    <a:pt x="171613" y="766618"/>
                    <a:pt x="0" y="595005"/>
                    <a:pt x="0" y="383309"/>
                  </a:cubicBezTo>
                  <a:cubicBezTo>
                    <a:pt x="0" y="171613"/>
                    <a:pt x="171613" y="0"/>
                    <a:pt x="383309" y="0"/>
                  </a:cubicBezTo>
                </a:path>
              </a:pathLst>
            </a:cu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latin typeface="Aptos" panose="020B0004020202020204" pitchFamily="34" charset="0"/>
              </a:endParaRPr>
            </a:p>
          </p:txBody>
        </p:sp>
        <p:sp>
          <p:nvSpPr>
            <p:cNvPr id="34" name="Ellipse 18">
              <a:extLst>
                <a:ext uri="{FF2B5EF4-FFF2-40B4-BE49-F238E27FC236}">
                  <a16:creationId xmlns:a16="http://schemas.microsoft.com/office/drawing/2014/main" id="{338C2929-F4C7-F371-5E04-BD9D9691B978}"/>
                </a:ext>
              </a:extLst>
            </p:cNvPr>
            <p:cNvSpPr/>
            <p:nvPr/>
          </p:nvSpPr>
          <p:spPr bwMode="gray">
            <a:xfrm rot="2617329" flipH="1" flipV="1">
              <a:off x="6326156" y="2529209"/>
              <a:ext cx="1419265" cy="1419265"/>
            </a:xfrm>
            <a:custGeom>
              <a:avLst/>
              <a:gdLst>
                <a:gd name="connsiteX0" fmla="*/ 0 w 766618"/>
                <a:gd name="connsiteY0" fmla="*/ 383309 h 766618"/>
                <a:gd name="connsiteX1" fmla="*/ 383309 w 766618"/>
                <a:gd name="connsiteY1" fmla="*/ 0 h 766618"/>
                <a:gd name="connsiteX2" fmla="*/ 766618 w 766618"/>
                <a:gd name="connsiteY2" fmla="*/ 383309 h 766618"/>
                <a:gd name="connsiteX3" fmla="*/ 383309 w 766618"/>
                <a:gd name="connsiteY3" fmla="*/ 766618 h 766618"/>
                <a:gd name="connsiteX4" fmla="*/ 0 w 766618"/>
                <a:gd name="connsiteY4" fmla="*/ 383309 h 766618"/>
                <a:gd name="connsiteX0" fmla="*/ 766618 w 858058"/>
                <a:gd name="connsiteY0" fmla="*/ 383309 h 766618"/>
                <a:gd name="connsiteX1" fmla="*/ 383309 w 858058"/>
                <a:gd name="connsiteY1" fmla="*/ 766618 h 766618"/>
                <a:gd name="connsiteX2" fmla="*/ 0 w 858058"/>
                <a:gd name="connsiteY2" fmla="*/ 383309 h 766618"/>
                <a:gd name="connsiteX3" fmla="*/ 383309 w 858058"/>
                <a:gd name="connsiteY3" fmla="*/ 0 h 766618"/>
                <a:gd name="connsiteX4" fmla="*/ 858058 w 858058"/>
                <a:gd name="connsiteY4" fmla="*/ 474749 h 766618"/>
                <a:gd name="connsiteX0" fmla="*/ 766618 w 766618"/>
                <a:gd name="connsiteY0" fmla="*/ 383309 h 766618"/>
                <a:gd name="connsiteX1" fmla="*/ 383309 w 766618"/>
                <a:gd name="connsiteY1" fmla="*/ 766618 h 766618"/>
                <a:gd name="connsiteX2" fmla="*/ 0 w 766618"/>
                <a:gd name="connsiteY2" fmla="*/ 383309 h 766618"/>
                <a:gd name="connsiteX3" fmla="*/ 383309 w 766618"/>
                <a:gd name="connsiteY3" fmla="*/ 0 h 766618"/>
              </a:gdLst>
              <a:ahLst/>
              <a:cxnLst>
                <a:cxn ang="0">
                  <a:pos x="connsiteX0" y="connsiteY0"/>
                </a:cxn>
                <a:cxn ang="0">
                  <a:pos x="connsiteX1" y="connsiteY1"/>
                </a:cxn>
                <a:cxn ang="0">
                  <a:pos x="connsiteX2" y="connsiteY2"/>
                </a:cxn>
                <a:cxn ang="0">
                  <a:pos x="connsiteX3" y="connsiteY3"/>
                </a:cxn>
              </a:cxnLst>
              <a:rect l="l" t="t" r="r" b="b"/>
              <a:pathLst>
                <a:path w="766618" h="766618">
                  <a:moveTo>
                    <a:pt x="766618" y="383309"/>
                  </a:moveTo>
                  <a:cubicBezTo>
                    <a:pt x="766618" y="595005"/>
                    <a:pt x="595005" y="766618"/>
                    <a:pt x="383309" y="766618"/>
                  </a:cubicBezTo>
                  <a:cubicBezTo>
                    <a:pt x="171613" y="766618"/>
                    <a:pt x="0" y="595005"/>
                    <a:pt x="0" y="383309"/>
                  </a:cubicBezTo>
                  <a:cubicBezTo>
                    <a:pt x="0" y="171613"/>
                    <a:pt x="171613" y="0"/>
                    <a:pt x="383309" y="0"/>
                  </a:cubicBezTo>
                </a:path>
              </a:pathLst>
            </a:custGeom>
            <a:noFill/>
            <a:ln w="63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latin typeface="Aptos" panose="020B0004020202020204" pitchFamily="34" charset="0"/>
              </a:endParaRPr>
            </a:p>
          </p:txBody>
        </p:sp>
      </p:grpSp>
      <p:sp>
        <p:nvSpPr>
          <p:cNvPr id="36" name="Oval 35">
            <a:extLst>
              <a:ext uri="{FF2B5EF4-FFF2-40B4-BE49-F238E27FC236}">
                <a16:creationId xmlns:a16="http://schemas.microsoft.com/office/drawing/2014/main" id="{604A0B41-4DB7-00A9-9E85-D37CB08E243A}"/>
              </a:ext>
            </a:extLst>
          </p:cNvPr>
          <p:cNvSpPr>
            <a:spLocks/>
          </p:cNvSpPr>
          <p:nvPr/>
        </p:nvSpPr>
        <p:spPr bwMode="gray">
          <a:xfrm>
            <a:off x="1216547" y="2617286"/>
            <a:ext cx="1260000" cy="1260000"/>
          </a:xfrm>
          <a:prstGeom prst="ellipse">
            <a:avLst/>
          </a:prstGeom>
          <a:blipFill>
            <a:blip r:embed="rId8"/>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300">
              <a:solidFill>
                <a:schemeClr val="bg1"/>
              </a:solidFill>
              <a:latin typeface="Aptos" panose="020B0004020202020204" pitchFamily="34" charset="0"/>
            </a:endParaRPr>
          </a:p>
        </p:txBody>
      </p:sp>
      <p:pic>
        <p:nvPicPr>
          <p:cNvPr id="38" name="Picture 37">
            <a:extLst>
              <a:ext uri="{FF2B5EF4-FFF2-40B4-BE49-F238E27FC236}">
                <a16:creationId xmlns:a16="http://schemas.microsoft.com/office/drawing/2014/main" id="{085463B4-B8BB-72DA-6471-35FD74976FF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54522" y="2617286"/>
            <a:ext cx="1260000" cy="1260000"/>
          </a:xfrm>
          <a:prstGeom prst="ellipse">
            <a:avLst/>
          </a:prstGeom>
          <a:noFill/>
          <a:extLst>
            <a:ext uri="{909E8E84-426E-40DD-AFC4-6F175D3DCCD1}">
              <a14:hiddenFill xmlns:a14="http://schemas.microsoft.com/office/drawing/2010/main">
                <a:solidFill>
                  <a:srgbClr val="FFFFFF"/>
                </a:solidFill>
              </a14:hiddenFill>
            </a:ext>
          </a:extLst>
        </p:spPr>
      </p:pic>
      <p:pic>
        <p:nvPicPr>
          <p:cNvPr id="39" name="Picture 4" descr="A picture containing building, outdoor, government building, tall&#10;&#10;Description automatically generated">
            <a:extLst>
              <a:ext uri="{FF2B5EF4-FFF2-40B4-BE49-F238E27FC236}">
                <a16:creationId xmlns:a16="http://schemas.microsoft.com/office/drawing/2014/main" id="{101356BD-5C6B-26C4-B594-793666B476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68306" y="0"/>
            <a:ext cx="4846637"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6170B507-CB23-04C2-68E0-84AABB394264}"/>
              </a:ext>
            </a:extLst>
          </p:cNvPr>
          <p:cNvCxnSpPr>
            <a:cxnSpLocks/>
          </p:cNvCxnSpPr>
          <p:nvPr/>
        </p:nvCxnSpPr>
        <p:spPr>
          <a:xfrm>
            <a:off x="7368306" y="0"/>
            <a:ext cx="0" cy="6858000"/>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40355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2324" name="think-cell data - do not delete" hidden="1">
            <a:extLst>
              <a:ext uri="{FF2B5EF4-FFF2-40B4-BE49-F238E27FC236}">
                <a16:creationId xmlns:a16="http://schemas.microsoft.com/office/drawing/2014/main" id="{B6146BD9-A8F0-5EED-7DAD-7E711BA6A575}"/>
              </a:ext>
            </a:extLst>
          </p:cNvPr>
          <p:cNvGraphicFramePr>
            <a:graphicFrameLocks noChangeAspect="1"/>
          </p:cNvGraphicFramePr>
          <p:nvPr>
            <p:custDataLst>
              <p:tags r:id="rId1"/>
            </p:custDataLst>
            <p:extLst>
              <p:ext uri="{D42A27DB-BD31-4B8C-83A1-F6EECF244321}">
                <p14:modId xmlns:p14="http://schemas.microsoft.com/office/powerpoint/2010/main" val="40130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324" name="think-cell data - do not delete" hidden="1">
                        <a:extLst>
                          <a:ext uri="{FF2B5EF4-FFF2-40B4-BE49-F238E27FC236}">
                            <a16:creationId xmlns:a16="http://schemas.microsoft.com/office/drawing/2014/main" id="{B6146BD9-A8F0-5EED-7DAD-7E711BA6A5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8811D40C-F60D-3C06-1726-0D007DF788F5}"/>
              </a:ext>
            </a:extLst>
          </p:cNvPr>
          <p:cNvGrpSpPr>
            <a:grpSpLocks/>
          </p:cNvGrpSpPr>
          <p:nvPr/>
        </p:nvGrpSpPr>
        <p:grpSpPr>
          <a:xfrm>
            <a:off x="226733" y="1863331"/>
            <a:ext cx="6464363" cy="3485990"/>
            <a:chOff x="450545" y="1651259"/>
            <a:chExt cx="7078284" cy="3960302"/>
          </a:xfrm>
        </p:grpSpPr>
        <p:pic>
          <p:nvPicPr>
            <p:cNvPr id="8" name="Grafik 34">
              <a:extLst>
                <a:ext uri="{FF2B5EF4-FFF2-40B4-BE49-F238E27FC236}">
                  <a16:creationId xmlns:a16="http://schemas.microsoft.com/office/drawing/2014/main" id="{ECD28BEB-BA1E-9BB1-3ED6-5276E335ECFD}"/>
                </a:ext>
              </a:extLst>
            </p:cNvPr>
            <p:cNvPicPr>
              <a:picLocks noChangeAspect="1"/>
            </p:cNvPicPr>
            <p:nvPr/>
          </p:nvPicPr>
          <p:blipFill rotWithShape="1">
            <a:blip r:embed="rId6">
              <a:alphaModFix/>
            </a:blip>
            <a:srcRect t="735" b="-2333"/>
            <a:stretch/>
          </p:blipFill>
          <p:spPr>
            <a:xfrm>
              <a:off x="450545" y="1651259"/>
              <a:ext cx="7078284" cy="3960302"/>
            </a:xfrm>
            <a:prstGeom prst="rect">
              <a:avLst/>
            </a:prstGeom>
          </p:spPr>
        </p:pic>
        <p:sp>
          <p:nvSpPr>
            <p:cNvPr id="2286" name="Oval 2285">
              <a:extLst>
                <a:ext uri="{FF2B5EF4-FFF2-40B4-BE49-F238E27FC236}">
                  <a16:creationId xmlns:a16="http://schemas.microsoft.com/office/drawing/2014/main" id="{A82E1D1D-F5D3-91E9-156C-5B7299AAC362}"/>
                </a:ext>
              </a:extLst>
            </p:cNvPr>
            <p:cNvSpPr/>
            <p:nvPr/>
          </p:nvSpPr>
          <p:spPr bwMode="gray">
            <a:xfrm>
              <a:off x="2096594" y="3149538"/>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87" name="Oval 2286">
              <a:extLst>
                <a:ext uri="{FF2B5EF4-FFF2-40B4-BE49-F238E27FC236}">
                  <a16:creationId xmlns:a16="http://schemas.microsoft.com/office/drawing/2014/main" id="{B3C352E8-3897-BD52-F84F-958FE5658C02}"/>
                </a:ext>
              </a:extLst>
            </p:cNvPr>
            <p:cNvSpPr/>
            <p:nvPr/>
          </p:nvSpPr>
          <p:spPr bwMode="gray">
            <a:xfrm>
              <a:off x="2942691" y="4261849"/>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88" name="Oval 2287">
              <a:extLst>
                <a:ext uri="{FF2B5EF4-FFF2-40B4-BE49-F238E27FC236}">
                  <a16:creationId xmlns:a16="http://schemas.microsoft.com/office/drawing/2014/main" id="{ABC9830C-E159-5A4E-2693-874F0BCD079F}"/>
                </a:ext>
              </a:extLst>
            </p:cNvPr>
            <p:cNvSpPr/>
            <p:nvPr/>
          </p:nvSpPr>
          <p:spPr bwMode="gray">
            <a:xfrm>
              <a:off x="5223098" y="3623271"/>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89" name="Oval 2288">
              <a:extLst>
                <a:ext uri="{FF2B5EF4-FFF2-40B4-BE49-F238E27FC236}">
                  <a16:creationId xmlns:a16="http://schemas.microsoft.com/office/drawing/2014/main" id="{6A0C1D3E-3237-AE40-0E06-69ED8D0E79B4}"/>
                </a:ext>
              </a:extLst>
            </p:cNvPr>
            <p:cNvSpPr/>
            <p:nvPr/>
          </p:nvSpPr>
          <p:spPr bwMode="gray">
            <a:xfrm>
              <a:off x="5803217" y="3351167"/>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0" name="Oval 2289">
              <a:extLst>
                <a:ext uri="{FF2B5EF4-FFF2-40B4-BE49-F238E27FC236}">
                  <a16:creationId xmlns:a16="http://schemas.microsoft.com/office/drawing/2014/main" id="{0E5850D4-2553-5CA9-4A93-C413D04A3D01}"/>
                </a:ext>
              </a:extLst>
            </p:cNvPr>
            <p:cNvSpPr/>
            <p:nvPr/>
          </p:nvSpPr>
          <p:spPr bwMode="gray">
            <a:xfrm>
              <a:off x="6424425" y="3303794"/>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1" name="Oval 2290">
              <a:extLst>
                <a:ext uri="{FF2B5EF4-FFF2-40B4-BE49-F238E27FC236}">
                  <a16:creationId xmlns:a16="http://schemas.microsoft.com/office/drawing/2014/main" id="{D6A32B4B-7360-D92E-C6E5-D3776DF2A181}"/>
                </a:ext>
              </a:extLst>
            </p:cNvPr>
            <p:cNvSpPr/>
            <p:nvPr/>
          </p:nvSpPr>
          <p:spPr bwMode="gray">
            <a:xfrm>
              <a:off x="3640277" y="3535323"/>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3" name="Oval 2292">
              <a:extLst>
                <a:ext uri="{FF2B5EF4-FFF2-40B4-BE49-F238E27FC236}">
                  <a16:creationId xmlns:a16="http://schemas.microsoft.com/office/drawing/2014/main" id="{7B3FC064-BAB6-0CD4-0C1F-886B4EBC3D99}"/>
                </a:ext>
              </a:extLst>
            </p:cNvPr>
            <p:cNvSpPr/>
            <p:nvPr/>
          </p:nvSpPr>
          <p:spPr bwMode="gray">
            <a:xfrm>
              <a:off x="1382016" y="2849516"/>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4" name="Oval 2293">
              <a:extLst>
                <a:ext uri="{FF2B5EF4-FFF2-40B4-BE49-F238E27FC236}">
                  <a16:creationId xmlns:a16="http://schemas.microsoft.com/office/drawing/2014/main" id="{3213F686-40E8-7A58-8E08-3F109DF35208}"/>
                </a:ext>
              </a:extLst>
            </p:cNvPr>
            <p:cNvSpPr/>
            <p:nvPr/>
          </p:nvSpPr>
          <p:spPr bwMode="gray">
            <a:xfrm>
              <a:off x="2781007" y="4628225"/>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5" name="Oval 2294">
              <a:extLst>
                <a:ext uri="{FF2B5EF4-FFF2-40B4-BE49-F238E27FC236}">
                  <a16:creationId xmlns:a16="http://schemas.microsoft.com/office/drawing/2014/main" id="{D278D4F1-E526-B3DD-998B-D4E66E184540}"/>
                </a:ext>
              </a:extLst>
            </p:cNvPr>
            <p:cNvSpPr/>
            <p:nvPr/>
          </p:nvSpPr>
          <p:spPr bwMode="gray">
            <a:xfrm>
              <a:off x="2487024" y="4968363"/>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6" name="Oval 2295">
              <a:extLst>
                <a:ext uri="{FF2B5EF4-FFF2-40B4-BE49-F238E27FC236}">
                  <a16:creationId xmlns:a16="http://schemas.microsoft.com/office/drawing/2014/main" id="{E50F744C-519A-2DC9-0CDE-0F49661F0E4F}"/>
                </a:ext>
              </a:extLst>
            </p:cNvPr>
            <p:cNvSpPr/>
            <p:nvPr/>
          </p:nvSpPr>
          <p:spPr bwMode="gray">
            <a:xfrm>
              <a:off x="2276523" y="2962156"/>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7" name="Oval 2296">
              <a:extLst>
                <a:ext uri="{FF2B5EF4-FFF2-40B4-BE49-F238E27FC236}">
                  <a16:creationId xmlns:a16="http://schemas.microsoft.com/office/drawing/2014/main" id="{F0B1216D-3A12-FA01-C594-DAAC7608CA11}"/>
                </a:ext>
              </a:extLst>
            </p:cNvPr>
            <p:cNvSpPr/>
            <p:nvPr/>
          </p:nvSpPr>
          <p:spPr bwMode="gray">
            <a:xfrm>
              <a:off x="2498513" y="2927380"/>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8" name="Oval 2297">
              <a:extLst>
                <a:ext uri="{FF2B5EF4-FFF2-40B4-BE49-F238E27FC236}">
                  <a16:creationId xmlns:a16="http://schemas.microsoft.com/office/drawing/2014/main" id="{9129CCC5-9E93-B913-1F74-02304B299BF1}"/>
                </a:ext>
              </a:extLst>
            </p:cNvPr>
            <p:cNvSpPr/>
            <p:nvPr/>
          </p:nvSpPr>
          <p:spPr bwMode="gray">
            <a:xfrm>
              <a:off x="1869899" y="3663621"/>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99" name="Oval 2298">
              <a:extLst>
                <a:ext uri="{FF2B5EF4-FFF2-40B4-BE49-F238E27FC236}">
                  <a16:creationId xmlns:a16="http://schemas.microsoft.com/office/drawing/2014/main" id="{65953D42-2B2B-9522-E412-0F7FAAA40BAF}"/>
                </a:ext>
              </a:extLst>
            </p:cNvPr>
            <p:cNvSpPr/>
            <p:nvPr/>
          </p:nvSpPr>
          <p:spPr bwMode="gray">
            <a:xfrm>
              <a:off x="1717700" y="3014179"/>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0" name="Oval 2299">
              <a:extLst>
                <a:ext uri="{FF2B5EF4-FFF2-40B4-BE49-F238E27FC236}">
                  <a16:creationId xmlns:a16="http://schemas.microsoft.com/office/drawing/2014/main" id="{91514915-9745-619A-18A3-FB42D6D3B13D}"/>
                </a:ext>
              </a:extLst>
            </p:cNvPr>
            <p:cNvSpPr/>
            <p:nvPr/>
          </p:nvSpPr>
          <p:spPr bwMode="gray">
            <a:xfrm>
              <a:off x="5869904" y="3601815"/>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1" name="Oval 2300">
              <a:extLst>
                <a:ext uri="{FF2B5EF4-FFF2-40B4-BE49-F238E27FC236}">
                  <a16:creationId xmlns:a16="http://schemas.microsoft.com/office/drawing/2014/main" id="{61CA8E5D-ED26-D27C-2211-469BC3D81E38}"/>
                </a:ext>
              </a:extLst>
            </p:cNvPr>
            <p:cNvSpPr/>
            <p:nvPr/>
          </p:nvSpPr>
          <p:spPr bwMode="gray">
            <a:xfrm>
              <a:off x="6670343" y="4785237"/>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2" name="Oval 2301">
              <a:extLst>
                <a:ext uri="{FF2B5EF4-FFF2-40B4-BE49-F238E27FC236}">
                  <a16:creationId xmlns:a16="http://schemas.microsoft.com/office/drawing/2014/main" id="{26188F08-091F-92B8-2BC0-E0E2C46C0189}"/>
                </a:ext>
              </a:extLst>
            </p:cNvPr>
            <p:cNvSpPr/>
            <p:nvPr/>
          </p:nvSpPr>
          <p:spPr bwMode="gray">
            <a:xfrm>
              <a:off x="4043733" y="2792222"/>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3" name="Oval 2302">
              <a:extLst>
                <a:ext uri="{FF2B5EF4-FFF2-40B4-BE49-F238E27FC236}">
                  <a16:creationId xmlns:a16="http://schemas.microsoft.com/office/drawing/2014/main" id="{F7ADD78D-8427-A0C0-0AA1-900F5CE3D9AB}"/>
                </a:ext>
              </a:extLst>
            </p:cNvPr>
            <p:cNvSpPr/>
            <p:nvPr/>
          </p:nvSpPr>
          <p:spPr bwMode="gray">
            <a:xfrm>
              <a:off x="3750469" y="2903516"/>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048" name="Oval 2047">
              <a:extLst>
                <a:ext uri="{FF2B5EF4-FFF2-40B4-BE49-F238E27FC236}">
                  <a16:creationId xmlns:a16="http://schemas.microsoft.com/office/drawing/2014/main" id="{4E01608C-83D6-508F-BDBF-81BEA827FB02}"/>
                </a:ext>
              </a:extLst>
            </p:cNvPr>
            <p:cNvSpPr/>
            <p:nvPr/>
          </p:nvSpPr>
          <p:spPr bwMode="gray">
            <a:xfrm>
              <a:off x="3729227" y="3151651"/>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4" name="Oval 2303">
              <a:extLst>
                <a:ext uri="{FF2B5EF4-FFF2-40B4-BE49-F238E27FC236}">
                  <a16:creationId xmlns:a16="http://schemas.microsoft.com/office/drawing/2014/main" id="{82DE8D2F-55B8-FAC9-9047-ACF611886DBE}"/>
                </a:ext>
              </a:extLst>
            </p:cNvPr>
            <p:cNvSpPr/>
            <p:nvPr/>
          </p:nvSpPr>
          <p:spPr bwMode="gray">
            <a:xfrm>
              <a:off x="3980596" y="2954889"/>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5" name="Oval 2304">
              <a:extLst>
                <a:ext uri="{FF2B5EF4-FFF2-40B4-BE49-F238E27FC236}">
                  <a16:creationId xmlns:a16="http://schemas.microsoft.com/office/drawing/2014/main" id="{30DBB027-B965-8D5F-692B-65A8778E0CE9}"/>
                </a:ext>
              </a:extLst>
            </p:cNvPr>
            <p:cNvSpPr/>
            <p:nvPr/>
          </p:nvSpPr>
          <p:spPr bwMode="gray">
            <a:xfrm>
              <a:off x="3855527" y="2978390"/>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6" name="Oval 2305">
              <a:extLst>
                <a:ext uri="{FF2B5EF4-FFF2-40B4-BE49-F238E27FC236}">
                  <a16:creationId xmlns:a16="http://schemas.microsoft.com/office/drawing/2014/main" id="{AD9D00E4-A260-3DB4-29A1-3DAAD7EBDAA4}"/>
                </a:ext>
              </a:extLst>
            </p:cNvPr>
            <p:cNvSpPr/>
            <p:nvPr/>
          </p:nvSpPr>
          <p:spPr bwMode="gray">
            <a:xfrm>
              <a:off x="3668289" y="3252677"/>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7" name="Oval 2306">
              <a:extLst>
                <a:ext uri="{FF2B5EF4-FFF2-40B4-BE49-F238E27FC236}">
                  <a16:creationId xmlns:a16="http://schemas.microsoft.com/office/drawing/2014/main" id="{F9E75777-AFC2-2F58-D0E2-85A99A1F3530}"/>
                </a:ext>
              </a:extLst>
            </p:cNvPr>
            <p:cNvSpPr/>
            <p:nvPr/>
          </p:nvSpPr>
          <p:spPr bwMode="gray">
            <a:xfrm>
              <a:off x="4063331" y="3036476"/>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8" name="Oval 2307">
              <a:extLst>
                <a:ext uri="{FF2B5EF4-FFF2-40B4-BE49-F238E27FC236}">
                  <a16:creationId xmlns:a16="http://schemas.microsoft.com/office/drawing/2014/main" id="{9CAEF88E-01F4-8CD6-476F-90770D1B9F4F}"/>
                </a:ext>
              </a:extLst>
            </p:cNvPr>
            <p:cNvSpPr/>
            <p:nvPr/>
          </p:nvSpPr>
          <p:spPr bwMode="gray">
            <a:xfrm>
              <a:off x="4028148" y="3220928"/>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09" name="Oval 2308">
              <a:extLst>
                <a:ext uri="{FF2B5EF4-FFF2-40B4-BE49-F238E27FC236}">
                  <a16:creationId xmlns:a16="http://schemas.microsoft.com/office/drawing/2014/main" id="{EBDD3CE5-13D0-8B96-1757-2E15000EADDC}"/>
                </a:ext>
              </a:extLst>
            </p:cNvPr>
            <p:cNvSpPr/>
            <p:nvPr/>
          </p:nvSpPr>
          <p:spPr bwMode="gray">
            <a:xfrm>
              <a:off x="4683743" y="3579027"/>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10" name="Oval 2309">
              <a:extLst>
                <a:ext uri="{FF2B5EF4-FFF2-40B4-BE49-F238E27FC236}">
                  <a16:creationId xmlns:a16="http://schemas.microsoft.com/office/drawing/2014/main" id="{C8A144E7-33A2-7945-51D8-D6F236A625CF}"/>
                </a:ext>
              </a:extLst>
            </p:cNvPr>
            <p:cNvSpPr/>
            <p:nvPr/>
          </p:nvSpPr>
          <p:spPr bwMode="gray">
            <a:xfrm>
              <a:off x="4416497" y="3184314"/>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11" name="Oval 2310">
              <a:extLst>
                <a:ext uri="{FF2B5EF4-FFF2-40B4-BE49-F238E27FC236}">
                  <a16:creationId xmlns:a16="http://schemas.microsoft.com/office/drawing/2014/main" id="{9910DDE2-2B6D-9E41-8C81-D93D00236912}"/>
                </a:ext>
              </a:extLst>
            </p:cNvPr>
            <p:cNvSpPr/>
            <p:nvPr/>
          </p:nvSpPr>
          <p:spPr bwMode="gray">
            <a:xfrm>
              <a:off x="4441402" y="3456268"/>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13" name="Oval 2312">
              <a:extLst>
                <a:ext uri="{FF2B5EF4-FFF2-40B4-BE49-F238E27FC236}">
                  <a16:creationId xmlns:a16="http://schemas.microsoft.com/office/drawing/2014/main" id="{49CA5D5A-7709-D9D4-5ADD-E75BDECE294D}"/>
                </a:ext>
              </a:extLst>
            </p:cNvPr>
            <p:cNvSpPr/>
            <p:nvPr/>
          </p:nvSpPr>
          <p:spPr bwMode="gray">
            <a:xfrm>
              <a:off x="3899166" y="3070156"/>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14" name="Oval 2313">
              <a:extLst>
                <a:ext uri="{FF2B5EF4-FFF2-40B4-BE49-F238E27FC236}">
                  <a16:creationId xmlns:a16="http://schemas.microsoft.com/office/drawing/2014/main" id="{97059CB5-95CB-41D8-379B-2987F6B852C9}"/>
                </a:ext>
              </a:extLst>
            </p:cNvPr>
            <p:cNvSpPr/>
            <p:nvPr/>
          </p:nvSpPr>
          <p:spPr bwMode="gray">
            <a:xfrm>
              <a:off x="3803746" y="3105003"/>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315" name="Oval 2314">
              <a:extLst>
                <a:ext uri="{FF2B5EF4-FFF2-40B4-BE49-F238E27FC236}">
                  <a16:creationId xmlns:a16="http://schemas.microsoft.com/office/drawing/2014/main" id="{BE7848A2-122E-7195-209D-35EEA1004BE8}"/>
                </a:ext>
              </a:extLst>
            </p:cNvPr>
            <p:cNvSpPr/>
            <p:nvPr/>
          </p:nvSpPr>
          <p:spPr bwMode="gray">
            <a:xfrm>
              <a:off x="4287904" y="4736225"/>
              <a:ext cx="108000" cy="108000"/>
            </a:xfrm>
            <a:prstGeom prst="ellipse">
              <a:avLst/>
            </a:prstGeom>
            <a:solidFill>
              <a:srgbClr val="9DD4CF"/>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dirty="0">
                <a:solidFill>
                  <a:srgbClr val="53565A"/>
                </a:solidFill>
                <a:cs typeface="Calibri" panose="020F0502020204030204" pitchFamily="34" charset="0"/>
              </a:rPr>
              <a:t>Globale Unternehmen – steigende Vernetzung, steigende Risiken</a:t>
            </a:r>
            <a:endParaRPr lang="en-GB" dirty="0">
              <a:solidFill>
                <a:srgbClr val="53565A"/>
              </a:solidFill>
              <a:cs typeface="Calibri" panose="020F0502020204030204" pitchFamily="34" charset="0"/>
            </a:endParaRP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dirty="0"/>
              <a:t>Kontext &amp; Relevanz</a:t>
            </a:r>
            <a:endParaRPr lang="en-GB" dirty="0"/>
          </a:p>
        </p:txBody>
      </p:sp>
      <p:sp>
        <p:nvSpPr>
          <p:cNvPr id="27" name="Oval 26">
            <a:extLst>
              <a:ext uri="{FF2B5EF4-FFF2-40B4-BE49-F238E27FC236}">
                <a16:creationId xmlns:a16="http://schemas.microsoft.com/office/drawing/2014/main" id="{462D9DF8-57A5-63F9-35DA-8954C5C77E17}"/>
              </a:ext>
            </a:extLst>
          </p:cNvPr>
          <p:cNvSpPr>
            <a:spLocks/>
          </p:cNvSpPr>
          <p:nvPr/>
        </p:nvSpPr>
        <p:spPr bwMode="gray">
          <a:xfrm>
            <a:off x="3117963" y="2726250"/>
            <a:ext cx="362313" cy="36197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600" b="1">
              <a:solidFill>
                <a:schemeClr val="bg1"/>
              </a:solidFill>
              <a:latin typeface="Aptos" panose="020B0004020202020204" pitchFamily="34" charset="0"/>
            </a:endParaRPr>
          </a:p>
        </p:txBody>
      </p:sp>
      <p:sp>
        <p:nvSpPr>
          <p:cNvPr id="2" name="Oval 1">
            <a:extLst>
              <a:ext uri="{FF2B5EF4-FFF2-40B4-BE49-F238E27FC236}">
                <a16:creationId xmlns:a16="http://schemas.microsoft.com/office/drawing/2014/main" id="{A31F9B66-6DFF-0B8E-711C-D93B0468655D}"/>
              </a:ext>
            </a:extLst>
          </p:cNvPr>
          <p:cNvSpPr>
            <a:spLocks/>
          </p:cNvSpPr>
          <p:nvPr/>
        </p:nvSpPr>
        <p:spPr bwMode="gray">
          <a:xfrm>
            <a:off x="1700207" y="3943053"/>
            <a:ext cx="362313" cy="36197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600" b="1">
              <a:solidFill>
                <a:schemeClr val="bg1"/>
              </a:solidFill>
              <a:latin typeface="Aptos" panose="020B0004020202020204" pitchFamily="34" charset="0"/>
            </a:endParaRPr>
          </a:p>
        </p:txBody>
      </p:sp>
      <p:grpSp>
        <p:nvGrpSpPr>
          <p:cNvPr id="2325" name="Group 2324">
            <a:extLst>
              <a:ext uri="{FF2B5EF4-FFF2-40B4-BE49-F238E27FC236}">
                <a16:creationId xmlns:a16="http://schemas.microsoft.com/office/drawing/2014/main" id="{D41704FC-17DD-67AB-E978-FC3A3EB821DC}"/>
              </a:ext>
            </a:extLst>
          </p:cNvPr>
          <p:cNvGrpSpPr>
            <a:grpSpLocks/>
          </p:cNvGrpSpPr>
          <p:nvPr/>
        </p:nvGrpSpPr>
        <p:grpSpPr>
          <a:xfrm>
            <a:off x="6765902" y="1838248"/>
            <a:ext cx="4753550" cy="3536157"/>
            <a:chOff x="6765902" y="1838248"/>
            <a:chExt cx="4753550" cy="3536157"/>
          </a:xfrm>
        </p:grpSpPr>
        <p:grpSp>
          <p:nvGrpSpPr>
            <p:cNvPr id="54" name="Graphic 4">
              <a:extLst>
                <a:ext uri="{FF2B5EF4-FFF2-40B4-BE49-F238E27FC236}">
                  <a16:creationId xmlns:a16="http://schemas.microsoft.com/office/drawing/2014/main" id="{D6CC23D0-DFAE-9EC0-EDC2-4A20F3079B02}"/>
                </a:ext>
              </a:extLst>
            </p:cNvPr>
            <p:cNvGrpSpPr>
              <a:grpSpLocks/>
            </p:cNvGrpSpPr>
            <p:nvPr/>
          </p:nvGrpSpPr>
          <p:grpSpPr>
            <a:xfrm>
              <a:off x="6765902" y="3425341"/>
              <a:ext cx="362309" cy="361971"/>
              <a:chOff x="4045469" y="2371173"/>
              <a:chExt cx="362309" cy="361971"/>
            </a:xfrm>
            <a:solidFill>
              <a:schemeClr val="accent1"/>
            </a:solidFill>
          </p:grpSpPr>
          <p:sp>
            <p:nvSpPr>
              <p:cNvPr id="55" name="Graphic 4">
                <a:extLst>
                  <a:ext uri="{FF2B5EF4-FFF2-40B4-BE49-F238E27FC236}">
                    <a16:creationId xmlns:a16="http://schemas.microsoft.com/office/drawing/2014/main" id="{08470E32-D402-D889-3F2D-441CE8CD6A75}"/>
                  </a:ext>
                </a:extLst>
              </p:cNvPr>
              <p:cNvSpPr/>
              <p:nvPr/>
            </p:nvSpPr>
            <p:spPr>
              <a:xfrm>
                <a:off x="4146430" y="2493107"/>
                <a:ext cx="161026" cy="128956"/>
              </a:xfrm>
              <a:custGeom>
                <a:avLst/>
                <a:gdLst>
                  <a:gd name="connsiteX0" fmla="*/ 0 w 161026"/>
                  <a:gd name="connsiteY0" fmla="*/ 128957 h 128956"/>
                  <a:gd name="connsiteX1" fmla="*/ 161026 w 161026"/>
                  <a:gd name="connsiteY1" fmla="*/ 128318 h 128956"/>
                  <a:gd name="connsiteX2" fmla="*/ 80513 w 161026"/>
                  <a:gd name="connsiteY2" fmla="*/ 0 h 128956"/>
                  <a:gd name="connsiteX3" fmla="*/ 0 w 161026"/>
                  <a:gd name="connsiteY3" fmla="*/ 128957 h 128956"/>
                  <a:gd name="connsiteX4" fmla="*/ 86903 w 161026"/>
                  <a:gd name="connsiteY4" fmla="*/ 112997 h 128956"/>
                  <a:gd name="connsiteX5" fmla="*/ 80513 w 161026"/>
                  <a:gd name="connsiteY5" fmla="*/ 119381 h 128956"/>
                  <a:gd name="connsiteX6" fmla="*/ 74123 w 161026"/>
                  <a:gd name="connsiteY6" fmla="*/ 112997 h 128956"/>
                  <a:gd name="connsiteX7" fmla="*/ 74123 w 161026"/>
                  <a:gd name="connsiteY7" fmla="*/ 105974 h 128956"/>
                  <a:gd name="connsiteX8" fmla="*/ 80513 w 161026"/>
                  <a:gd name="connsiteY8" fmla="*/ 99590 h 128956"/>
                  <a:gd name="connsiteX9" fmla="*/ 86903 w 161026"/>
                  <a:gd name="connsiteY9" fmla="*/ 105974 h 128956"/>
                  <a:gd name="connsiteX10" fmla="*/ 86903 w 161026"/>
                  <a:gd name="connsiteY10" fmla="*/ 112997 h 128956"/>
                  <a:gd name="connsiteX11" fmla="*/ 86903 w 161026"/>
                  <a:gd name="connsiteY11" fmla="*/ 37027 h 128956"/>
                  <a:gd name="connsiteX12" fmla="*/ 86903 w 161026"/>
                  <a:gd name="connsiteY12" fmla="*/ 87461 h 128956"/>
                  <a:gd name="connsiteX13" fmla="*/ 80513 w 161026"/>
                  <a:gd name="connsiteY13" fmla="*/ 93845 h 128956"/>
                  <a:gd name="connsiteX14" fmla="*/ 74123 w 161026"/>
                  <a:gd name="connsiteY14" fmla="*/ 87461 h 128956"/>
                  <a:gd name="connsiteX15" fmla="*/ 74123 w 161026"/>
                  <a:gd name="connsiteY15" fmla="*/ 37027 h 128956"/>
                  <a:gd name="connsiteX16" fmla="*/ 80513 w 161026"/>
                  <a:gd name="connsiteY16" fmla="*/ 30643 h 128956"/>
                  <a:gd name="connsiteX17" fmla="*/ 86903 w 161026"/>
                  <a:gd name="connsiteY17" fmla="*/ 37027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026" h="128956">
                    <a:moveTo>
                      <a:pt x="0" y="128957"/>
                    </a:moveTo>
                    <a:lnTo>
                      <a:pt x="161026" y="128318"/>
                    </a:lnTo>
                    <a:lnTo>
                      <a:pt x="80513" y="0"/>
                    </a:lnTo>
                    <a:lnTo>
                      <a:pt x="0" y="128957"/>
                    </a:lnTo>
                    <a:close/>
                    <a:moveTo>
                      <a:pt x="86903" y="112997"/>
                    </a:moveTo>
                    <a:cubicBezTo>
                      <a:pt x="86903" y="116827"/>
                      <a:pt x="84347" y="119381"/>
                      <a:pt x="80513" y="119381"/>
                    </a:cubicBezTo>
                    <a:cubicBezTo>
                      <a:pt x="76679" y="119381"/>
                      <a:pt x="74123" y="116827"/>
                      <a:pt x="74123" y="112997"/>
                    </a:cubicBezTo>
                    <a:lnTo>
                      <a:pt x="74123" y="105974"/>
                    </a:lnTo>
                    <a:cubicBezTo>
                      <a:pt x="74123" y="102144"/>
                      <a:pt x="76679" y="99590"/>
                      <a:pt x="80513" y="99590"/>
                    </a:cubicBezTo>
                    <a:cubicBezTo>
                      <a:pt x="84347" y="99590"/>
                      <a:pt x="86903" y="102144"/>
                      <a:pt x="86903" y="105974"/>
                    </a:cubicBezTo>
                    <a:lnTo>
                      <a:pt x="86903" y="112997"/>
                    </a:lnTo>
                    <a:close/>
                    <a:moveTo>
                      <a:pt x="86903" y="37027"/>
                    </a:moveTo>
                    <a:lnTo>
                      <a:pt x="86903" y="87461"/>
                    </a:lnTo>
                    <a:cubicBezTo>
                      <a:pt x="86903" y="91291"/>
                      <a:pt x="84347" y="93845"/>
                      <a:pt x="80513" y="93845"/>
                    </a:cubicBezTo>
                    <a:cubicBezTo>
                      <a:pt x="76679" y="93845"/>
                      <a:pt x="74123" y="91291"/>
                      <a:pt x="74123" y="87461"/>
                    </a:cubicBezTo>
                    <a:lnTo>
                      <a:pt x="74123" y="37027"/>
                    </a:lnTo>
                    <a:cubicBezTo>
                      <a:pt x="74123" y="33197"/>
                      <a:pt x="76679" y="30643"/>
                      <a:pt x="80513" y="30643"/>
                    </a:cubicBezTo>
                    <a:cubicBezTo>
                      <a:pt x="84347" y="30643"/>
                      <a:pt x="86903" y="33835"/>
                      <a:pt x="86903" y="37027"/>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56" name="Graphic 4">
                <a:extLst>
                  <a:ext uri="{FF2B5EF4-FFF2-40B4-BE49-F238E27FC236}">
                    <a16:creationId xmlns:a16="http://schemas.microsoft.com/office/drawing/2014/main" id="{7D5C1139-D363-DD5F-765C-89CA8E56EC6B}"/>
                  </a:ext>
                </a:extLst>
              </p:cNvPr>
              <p:cNvSpPr/>
              <p:nvPr/>
            </p:nvSpPr>
            <p:spPr>
              <a:xfrm>
                <a:off x="4045469" y="237117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61349 w 362309"/>
                  <a:gd name="connsiteY6" fmla="*/ 128957 h 361971"/>
                  <a:gd name="connsiteX7" fmla="*/ 261349 w 362309"/>
                  <a:gd name="connsiteY7" fmla="*/ 120019 h 361971"/>
                  <a:gd name="connsiteX8" fmla="*/ 261349 w 362309"/>
                  <a:gd name="connsiteY8" fmla="*/ 120019 h 361971"/>
                  <a:gd name="connsiteX9" fmla="*/ 270295 w 362309"/>
                  <a:gd name="connsiteY9" fmla="*/ 120019 h 361971"/>
                  <a:gd name="connsiteX10" fmla="*/ 270295 w 362309"/>
                  <a:gd name="connsiteY10" fmla="*/ 192158 h 361971"/>
                  <a:gd name="connsiteX11" fmla="*/ 270295 w 362309"/>
                  <a:gd name="connsiteY11" fmla="*/ 192158 h 361971"/>
                  <a:gd name="connsiteX12" fmla="*/ 261349 w 362309"/>
                  <a:gd name="connsiteY12" fmla="*/ 192158 h 361971"/>
                  <a:gd name="connsiteX13" fmla="*/ 261349 w 362309"/>
                  <a:gd name="connsiteY13" fmla="*/ 183220 h 361971"/>
                  <a:gd name="connsiteX14" fmla="*/ 261349 w 362309"/>
                  <a:gd name="connsiteY14" fmla="*/ 128957 h 361971"/>
                  <a:gd name="connsiteX15" fmla="*/ 261349 w 362309"/>
                  <a:gd name="connsiteY15" fmla="*/ 128957 h 361971"/>
                  <a:gd name="connsiteX16" fmla="*/ 261349 w 362309"/>
                  <a:gd name="connsiteY16" fmla="*/ 128957 h 361971"/>
                  <a:gd name="connsiteX17" fmla="*/ 242179 w 362309"/>
                  <a:gd name="connsiteY17" fmla="*/ 149385 h 361971"/>
                  <a:gd name="connsiteX18" fmla="*/ 241540 w 362309"/>
                  <a:gd name="connsiteY18" fmla="*/ 140448 h 361971"/>
                  <a:gd name="connsiteX19" fmla="*/ 250486 w 362309"/>
                  <a:gd name="connsiteY19" fmla="*/ 139809 h 361971"/>
                  <a:gd name="connsiteX20" fmla="*/ 250486 w 362309"/>
                  <a:gd name="connsiteY20" fmla="*/ 139809 h 361971"/>
                  <a:gd name="connsiteX21" fmla="*/ 252403 w 362309"/>
                  <a:gd name="connsiteY21" fmla="*/ 171091 h 361971"/>
                  <a:gd name="connsiteX22" fmla="*/ 250486 w 362309"/>
                  <a:gd name="connsiteY22" fmla="*/ 173006 h 361971"/>
                  <a:gd name="connsiteX23" fmla="*/ 246013 w 362309"/>
                  <a:gd name="connsiteY23" fmla="*/ 174921 h 361971"/>
                  <a:gd name="connsiteX24" fmla="*/ 239623 w 362309"/>
                  <a:gd name="connsiteY24" fmla="*/ 168537 h 361971"/>
                  <a:gd name="connsiteX25" fmla="*/ 241540 w 362309"/>
                  <a:gd name="connsiteY25" fmla="*/ 164068 h 361971"/>
                  <a:gd name="connsiteX26" fmla="*/ 244735 w 362309"/>
                  <a:gd name="connsiteY26" fmla="*/ 157046 h 361971"/>
                  <a:gd name="connsiteX27" fmla="*/ 242179 w 362309"/>
                  <a:gd name="connsiteY27" fmla="*/ 149385 h 361971"/>
                  <a:gd name="connsiteX28" fmla="*/ 111824 w 362309"/>
                  <a:gd name="connsiteY28" fmla="*/ 139809 h 361971"/>
                  <a:gd name="connsiteX29" fmla="*/ 120770 w 362309"/>
                  <a:gd name="connsiteY29" fmla="*/ 140448 h 361971"/>
                  <a:gd name="connsiteX30" fmla="*/ 120770 w 362309"/>
                  <a:gd name="connsiteY30" fmla="*/ 140448 h 361971"/>
                  <a:gd name="connsiteX31" fmla="*/ 120131 w 362309"/>
                  <a:gd name="connsiteY31" fmla="*/ 149385 h 361971"/>
                  <a:gd name="connsiteX32" fmla="*/ 116936 w 362309"/>
                  <a:gd name="connsiteY32" fmla="*/ 156408 h 361971"/>
                  <a:gd name="connsiteX33" fmla="*/ 120131 w 362309"/>
                  <a:gd name="connsiteY33" fmla="*/ 163430 h 361971"/>
                  <a:gd name="connsiteX34" fmla="*/ 120770 w 362309"/>
                  <a:gd name="connsiteY34" fmla="*/ 172368 h 361971"/>
                  <a:gd name="connsiteX35" fmla="*/ 111824 w 362309"/>
                  <a:gd name="connsiteY35" fmla="*/ 173006 h 361971"/>
                  <a:gd name="connsiteX36" fmla="*/ 109907 w 362309"/>
                  <a:gd name="connsiteY36" fmla="*/ 141724 h 361971"/>
                  <a:gd name="connsiteX37" fmla="*/ 111824 w 362309"/>
                  <a:gd name="connsiteY37" fmla="*/ 139809 h 361971"/>
                  <a:gd name="connsiteX38" fmla="*/ 111824 w 362309"/>
                  <a:gd name="connsiteY38" fmla="*/ 139809 h 361971"/>
                  <a:gd name="connsiteX39" fmla="*/ 101600 w 362309"/>
                  <a:gd name="connsiteY39" fmla="*/ 120019 h 361971"/>
                  <a:gd name="connsiteX40" fmla="*/ 101600 w 362309"/>
                  <a:gd name="connsiteY40" fmla="*/ 128957 h 361971"/>
                  <a:gd name="connsiteX41" fmla="*/ 101600 w 362309"/>
                  <a:gd name="connsiteY41" fmla="*/ 128957 h 361971"/>
                  <a:gd name="connsiteX42" fmla="*/ 101600 w 362309"/>
                  <a:gd name="connsiteY42" fmla="*/ 183220 h 361971"/>
                  <a:gd name="connsiteX43" fmla="*/ 101600 w 362309"/>
                  <a:gd name="connsiteY43" fmla="*/ 183220 h 361971"/>
                  <a:gd name="connsiteX44" fmla="*/ 101600 w 362309"/>
                  <a:gd name="connsiteY44" fmla="*/ 192158 h 361971"/>
                  <a:gd name="connsiteX45" fmla="*/ 92654 w 362309"/>
                  <a:gd name="connsiteY45" fmla="*/ 192158 h 361971"/>
                  <a:gd name="connsiteX46" fmla="*/ 92654 w 362309"/>
                  <a:gd name="connsiteY46" fmla="*/ 192158 h 361971"/>
                  <a:gd name="connsiteX47" fmla="*/ 92654 w 362309"/>
                  <a:gd name="connsiteY47" fmla="*/ 120019 h 361971"/>
                  <a:gd name="connsiteX48" fmla="*/ 92654 w 362309"/>
                  <a:gd name="connsiteY48" fmla="*/ 120019 h 361971"/>
                  <a:gd name="connsiteX49" fmla="*/ 101600 w 362309"/>
                  <a:gd name="connsiteY49" fmla="*/ 120019 h 361971"/>
                  <a:gd name="connsiteX50" fmla="*/ 82430 w 362309"/>
                  <a:gd name="connsiteY50" fmla="*/ 212587 h 361971"/>
                  <a:gd name="connsiteX51" fmla="*/ 73484 w 362309"/>
                  <a:gd name="connsiteY51" fmla="*/ 212587 h 361971"/>
                  <a:gd name="connsiteX52" fmla="*/ 73484 w 362309"/>
                  <a:gd name="connsiteY52" fmla="*/ 212587 h 361971"/>
                  <a:gd name="connsiteX53" fmla="*/ 73484 w 362309"/>
                  <a:gd name="connsiteY53" fmla="*/ 100229 h 361971"/>
                  <a:gd name="connsiteX54" fmla="*/ 82430 w 362309"/>
                  <a:gd name="connsiteY54" fmla="*/ 100229 h 361971"/>
                  <a:gd name="connsiteX55" fmla="*/ 82430 w 362309"/>
                  <a:gd name="connsiteY55" fmla="*/ 100229 h 361971"/>
                  <a:gd name="connsiteX56" fmla="*/ 82430 w 362309"/>
                  <a:gd name="connsiteY56" fmla="*/ 109166 h 361971"/>
                  <a:gd name="connsiteX57" fmla="*/ 82430 w 362309"/>
                  <a:gd name="connsiteY57" fmla="*/ 203649 h 361971"/>
                  <a:gd name="connsiteX58" fmla="*/ 82430 w 362309"/>
                  <a:gd name="connsiteY58" fmla="*/ 212587 h 361971"/>
                  <a:gd name="connsiteX59" fmla="*/ 82430 w 362309"/>
                  <a:gd name="connsiteY59" fmla="*/ 212587 h 361971"/>
                  <a:gd name="connsiteX60" fmla="*/ 274128 w 362309"/>
                  <a:gd name="connsiteY60" fmla="*/ 256636 h 361971"/>
                  <a:gd name="connsiteX61" fmla="*/ 263266 w 362309"/>
                  <a:gd name="connsiteY61" fmla="*/ 263020 h 361971"/>
                  <a:gd name="connsiteX62" fmla="*/ 100961 w 362309"/>
                  <a:gd name="connsiteY62" fmla="*/ 263020 h 361971"/>
                  <a:gd name="connsiteX63" fmla="*/ 88820 w 362309"/>
                  <a:gd name="connsiteY63" fmla="*/ 250252 h 361971"/>
                  <a:gd name="connsiteX64" fmla="*/ 90737 w 362309"/>
                  <a:gd name="connsiteY64" fmla="*/ 243868 h 361971"/>
                  <a:gd name="connsiteX65" fmla="*/ 171251 w 362309"/>
                  <a:gd name="connsiteY65" fmla="*/ 114912 h 361971"/>
                  <a:gd name="connsiteX66" fmla="*/ 189142 w 362309"/>
                  <a:gd name="connsiteY66" fmla="*/ 111720 h 361971"/>
                  <a:gd name="connsiteX67" fmla="*/ 192337 w 362309"/>
                  <a:gd name="connsiteY67" fmla="*/ 114912 h 361971"/>
                  <a:gd name="connsiteX68" fmla="*/ 273490 w 362309"/>
                  <a:gd name="connsiteY68" fmla="*/ 243868 h 361971"/>
                  <a:gd name="connsiteX69" fmla="*/ 274128 w 362309"/>
                  <a:gd name="connsiteY69" fmla="*/ 256636 h 361971"/>
                  <a:gd name="connsiteX70" fmla="*/ 274128 w 362309"/>
                  <a:gd name="connsiteY70" fmla="*/ 256636 h 361971"/>
                  <a:gd name="connsiteX71" fmla="*/ 290742 w 362309"/>
                  <a:gd name="connsiteY71" fmla="*/ 212587 h 361971"/>
                  <a:gd name="connsiteX72" fmla="*/ 286270 w 362309"/>
                  <a:gd name="connsiteY72" fmla="*/ 214502 h 361971"/>
                  <a:gd name="connsiteX73" fmla="*/ 279880 w 362309"/>
                  <a:gd name="connsiteY73" fmla="*/ 208118 h 361971"/>
                  <a:gd name="connsiteX74" fmla="*/ 281796 w 362309"/>
                  <a:gd name="connsiteY74" fmla="*/ 203649 h 361971"/>
                  <a:gd name="connsiteX75" fmla="*/ 281796 w 362309"/>
                  <a:gd name="connsiteY75" fmla="*/ 109166 h 361971"/>
                  <a:gd name="connsiteX76" fmla="*/ 281796 w 362309"/>
                  <a:gd name="connsiteY76" fmla="*/ 100229 h 361971"/>
                  <a:gd name="connsiteX77" fmla="*/ 290742 w 362309"/>
                  <a:gd name="connsiteY77" fmla="*/ 100229 h 361971"/>
                  <a:gd name="connsiteX78" fmla="*/ 290103 w 362309"/>
                  <a:gd name="connsiteY78" fmla="*/ 212587 h 361971"/>
                  <a:gd name="connsiteX79" fmla="*/ 290742 w 362309"/>
                  <a:gd name="connsiteY79" fmla="*/ 2125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lose/>
                    <a:moveTo>
                      <a:pt x="261349" y="128957"/>
                    </a:moveTo>
                    <a:cubicBezTo>
                      <a:pt x="258792" y="126403"/>
                      <a:pt x="258792" y="122573"/>
                      <a:pt x="261349" y="120019"/>
                    </a:cubicBezTo>
                    <a:cubicBezTo>
                      <a:pt x="261349" y="120019"/>
                      <a:pt x="261349" y="120019"/>
                      <a:pt x="261349" y="120019"/>
                    </a:cubicBezTo>
                    <a:cubicBezTo>
                      <a:pt x="263905" y="117465"/>
                      <a:pt x="267739" y="117465"/>
                      <a:pt x="270295" y="120019"/>
                    </a:cubicBezTo>
                    <a:cubicBezTo>
                      <a:pt x="290103" y="139809"/>
                      <a:pt x="290742" y="172368"/>
                      <a:pt x="270295" y="192158"/>
                    </a:cubicBezTo>
                    <a:cubicBezTo>
                      <a:pt x="270295" y="192158"/>
                      <a:pt x="270295" y="192158"/>
                      <a:pt x="270295" y="192158"/>
                    </a:cubicBezTo>
                    <a:cubicBezTo>
                      <a:pt x="267739" y="194711"/>
                      <a:pt x="263905" y="194711"/>
                      <a:pt x="261349" y="192158"/>
                    </a:cubicBezTo>
                    <a:cubicBezTo>
                      <a:pt x="258792" y="189604"/>
                      <a:pt x="258792" y="185774"/>
                      <a:pt x="261349" y="183220"/>
                    </a:cubicBezTo>
                    <a:cubicBezTo>
                      <a:pt x="276685" y="168537"/>
                      <a:pt x="276685" y="144278"/>
                      <a:pt x="261349" y="128957"/>
                    </a:cubicBezTo>
                    <a:cubicBezTo>
                      <a:pt x="261349" y="129595"/>
                      <a:pt x="261349" y="129595"/>
                      <a:pt x="261349" y="128957"/>
                    </a:cubicBezTo>
                    <a:lnTo>
                      <a:pt x="261349" y="128957"/>
                    </a:lnTo>
                    <a:close/>
                    <a:moveTo>
                      <a:pt x="242179" y="149385"/>
                    </a:moveTo>
                    <a:cubicBezTo>
                      <a:pt x="239623" y="146832"/>
                      <a:pt x="239623" y="143001"/>
                      <a:pt x="241540" y="140448"/>
                    </a:cubicBezTo>
                    <a:cubicBezTo>
                      <a:pt x="244096" y="137894"/>
                      <a:pt x="247930" y="137894"/>
                      <a:pt x="250486" y="139809"/>
                    </a:cubicBezTo>
                    <a:cubicBezTo>
                      <a:pt x="250486" y="139809"/>
                      <a:pt x="250486" y="139809"/>
                      <a:pt x="250486" y="139809"/>
                    </a:cubicBezTo>
                    <a:cubicBezTo>
                      <a:pt x="259432" y="148108"/>
                      <a:pt x="260710" y="162153"/>
                      <a:pt x="252403" y="171091"/>
                    </a:cubicBezTo>
                    <a:cubicBezTo>
                      <a:pt x="251764" y="171729"/>
                      <a:pt x="251125" y="172368"/>
                      <a:pt x="250486" y="173006"/>
                    </a:cubicBezTo>
                    <a:cubicBezTo>
                      <a:pt x="249208" y="174283"/>
                      <a:pt x="247930" y="174921"/>
                      <a:pt x="246013" y="174921"/>
                    </a:cubicBezTo>
                    <a:cubicBezTo>
                      <a:pt x="242179" y="174921"/>
                      <a:pt x="239623" y="172368"/>
                      <a:pt x="239623" y="168537"/>
                    </a:cubicBezTo>
                    <a:cubicBezTo>
                      <a:pt x="239623" y="166622"/>
                      <a:pt x="240262" y="164707"/>
                      <a:pt x="241540" y="164068"/>
                    </a:cubicBezTo>
                    <a:cubicBezTo>
                      <a:pt x="243457" y="162153"/>
                      <a:pt x="244735" y="159600"/>
                      <a:pt x="244735" y="157046"/>
                    </a:cubicBezTo>
                    <a:cubicBezTo>
                      <a:pt x="245374" y="153854"/>
                      <a:pt x="244096" y="151300"/>
                      <a:pt x="242179" y="149385"/>
                    </a:cubicBezTo>
                    <a:close/>
                    <a:moveTo>
                      <a:pt x="111824" y="139809"/>
                    </a:moveTo>
                    <a:cubicBezTo>
                      <a:pt x="114380" y="137256"/>
                      <a:pt x="118214" y="137894"/>
                      <a:pt x="120770" y="140448"/>
                    </a:cubicBezTo>
                    <a:cubicBezTo>
                      <a:pt x="120770" y="140448"/>
                      <a:pt x="120770" y="140448"/>
                      <a:pt x="120770" y="140448"/>
                    </a:cubicBezTo>
                    <a:cubicBezTo>
                      <a:pt x="123326" y="143001"/>
                      <a:pt x="122687" y="146832"/>
                      <a:pt x="120131" y="149385"/>
                    </a:cubicBezTo>
                    <a:cubicBezTo>
                      <a:pt x="118214" y="151300"/>
                      <a:pt x="116936" y="153854"/>
                      <a:pt x="116936" y="156408"/>
                    </a:cubicBezTo>
                    <a:cubicBezTo>
                      <a:pt x="116936" y="158961"/>
                      <a:pt x="118214" y="161515"/>
                      <a:pt x="120131" y="163430"/>
                    </a:cubicBezTo>
                    <a:cubicBezTo>
                      <a:pt x="122687" y="165984"/>
                      <a:pt x="122687" y="169814"/>
                      <a:pt x="120770" y="172368"/>
                    </a:cubicBezTo>
                    <a:cubicBezTo>
                      <a:pt x="118214" y="174921"/>
                      <a:pt x="114380" y="174921"/>
                      <a:pt x="111824" y="173006"/>
                    </a:cubicBezTo>
                    <a:cubicBezTo>
                      <a:pt x="102878" y="164707"/>
                      <a:pt x="101600" y="150662"/>
                      <a:pt x="109907" y="141724"/>
                    </a:cubicBezTo>
                    <a:cubicBezTo>
                      <a:pt x="110546" y="141086"/>
                      <a:pt x="111185" y="140448"/>
                      <a:pt x="111824" y="139809"/>
                    </a:cubicBezTo>
                    <a:lnTo>
                      <a:pt x="111824" y="139809"/>
                    </a:lnTo>
                    <a:close/>
                    <a:moveTo>
                      <a:pt x="101600" y="120019"/>
                    </a:moveTo>
                    <a:cubicBezTo>
                      <a:pt x="104156" y="122573"/>
                      <a:pt x="104156" y="126403"/>
                      <a:pt x="101600" y="128957"/>
                    </a:cubicBezTo>
                    <a:cubicBezTo>
                      <a:pt x="101600" y="128957"/>
                      <a:pt x="101600" y="128957"/>
                      <a:pt x="101600" y="128957"/>
                    </a:cubicBezTo>
                    <a:cubicBezTo>
                      <a:pt x="86264" y="143640"/>
                      <a:pt x="86264" y="167899"/>
                      <a:pt x="101600" y="183220"/>
                    </a:cubicBezTo>
                    <a:cubicBezTo>
                      <a:pt x="101600" y="183220"/>
                      <a:pt x="101600" y="183220"/>
                      <a:pt x="101600" y="183220"/>
                    </a:cubicBezTo>
                    <a:cubicBezTo>
                      <a:pt x="104156" y="185774"/>
                      <a:pt x="104156" y="189604"/>
                      <a:pt x="101600" y="192158"/>
                    </a:cubicBezTo>
                    <a:cubicBezTo>
                      <a:pt x="99044" y="194711"/>
                      <a:pt x="95210" y="194711"/>
                      <a:pt x="92654" y="192158"/>
                    </a:cubicBezTo>
                    <a:lnTo>
                      <a:pt x="92654" y="192158"/>
                    </a:lnTo>
                    <a:cubicBezTo>
                      <a:pt x="72845" y="172368"/>
                      <a:pt x="72207" y="139809"/>
                      <a:pt x="92654" y="120019"/>
                    </a:cubicBezTo>
                    <a:cubicBezTo>
                      <a:pt x="92654" y="120019"/>
                      <a:pt x="92654" y="120019"/>
                      <a:pt x="92654" y="120019"/>
                    </a:cubicBezTo>
                    <a:cubicBezTo>
                      <a:pt x="95210" y="117465"/>
                      <a:pt x="99044" y="117465"/>
                      <a:pt x="101600" y="120019"/>
                    </a:cubicBezTo>
                    <a:close/>
                    <a:moveTo>
                      <a:pt x="82430" y="212587"/>
                    </a:moveTo>
                    <a:cubicBezTo>
                      <a:pt x="79874" y="215140"/>
                      <a:pt x="76040" y="215140"/>
                      <a:pt x="73484" y="212587"/>
                    </a:cubicBezTo>
                    <a:cubicBezTo>
                      <a:pt x="73484" y="212587"/>
                      <a:pt x="73484" y="212587"/>
                      <a:pt x="73484" y="212587"/>
                    </a:cubicBezTo>
                    <a:cubicBezTo>
                      <a:pt x="43452" y="181305"/>
                      <a:pt x="43452" y="131510"/>
                      <a:pt x="73484" y="100229"/>
                    </a:cubicBezTo>
                    <a:cubicBezTo>
                      <a:pt x="76040" y="97675"/>
                      <a:pt x="79874" y="97675"/>
                      <a:pt x="82430" y="100229"/>
                    </a:cubicBezTo>
                    <a:cubicBezTo>
                      <a:pt x="82430" y="100229"/>
                      <a:pt x="82430" y="100229"/>
                      <a:pt x="82430" y="100229"/>
                    </a:cubicBezTo>
                    <a:cubicBezTo>
                      <a:pt x="84986" y="102782"/>
                      <a:pt x="84986" y="106613"/>
                      <a:pt x="82430" y="109166"/>
                    </a:cubicBezTo>
                    <a:cubicBezTo>
                      <a:pt x="56871" y="135341"/>
                      <a:pt x="56871" y="176836"/>
                      <a:pt x="82430" y="203649"/>
                    </a:cubicBezTo>
                    <a:cubicBezTo>
                      <a:pt x="84986" y="206203"/>
                      <a:pt x="84347" y="210033"/>
                      <a:pt x="82430" y="212587"/>
                    </a:cubicBezTo>
                    <a:lnTo>
                      <a:pt x="82430" y="212587"/>
                    </a:lnTo>
                    <a:close/>
                    <a:moveTo>
                      <a:pt x="274128" y="256636"/>
                    </a:moveTo>
                    <a:cubicBezTo>
                      <a:pt x="272212" y="260467"/>
                      <a:pt x="267739" y="263020"/>
                      <a:pt x="263266" y="263020"/>
                    </a:cubicBezTo>
                    <a:lnTo>
                      <a:pt x="100961" y="263020"/>
                    </a:lnTo>
                    <a:cubicBezTo>
                      <a:pt x="93932" y="263020"/>
                      <a:pt x="88820" y="257275"/>
                      <a:pt x="88820" y="250252"/>
                    </a:cubicBezTo>
                    <a:cubicBezTo>
                      <a:pt x="88820" y="247699"/>
                      <a:pt x="89459" y="245783"/>
                      <a:pt x="90737" y="243868"/>
                    </a:cubicBezTo>
                    <a:lnTo>
                      <a:pt x="171251" y="114912"/>
                    </a:lnTo>
                    <a:cubicBezTo>
                      <a:pt x="175084" y="109166"/>
                      <a:pt x="183391" y="107889"/>
                      <a:pt x="189142" y="111720"/>
                    </a:cubicBezTo>
                    <a:cubicBezTo>
                      <a:pt x="190420" y="112358"/>
                      <a:pt x="191698" y="113635"/>
                      <a:pt x="192337" y="114912"/>
                    </a:cubicBezTo>
                    <a:lnTo>
                      <a:pt x="273490" y="243868"/>
                    </a:lnTo>
                    <a:cubicBezTo>
                      <a:pt x="276045" y="247699"/>
                      <a:pt x="276045" y="252806"/>
                      <a:pt x="274128" y="256636"/>
                    </a:cubicBezTo>
                    <a:lnTo>
                      <a:pt x="274128" y="256636"/>
                    </a:lnTo>
                    <a:close/>
                    <a:moveTo>
                      <a:pt x="290742" y="212587"/>
                    </a:moveTo>
                    <a:cubicBezTo>
                      <a:pt x="289464" y="213863"/>
                      <a:pt x="288186" y="214502"/>
                      <a:pt x="286270" y="214502"/>
                    </a:cubicBezTo>
                    <a:cubicBezTo>
                      <a:pt x="282435" y="214502"/>
                      <a:pt x="279880" y="211948"/>
                      <a:pt x="279880" y="208118"/>
                    </a:cubicBezTo>
                    <a:cubicBezTo>
                      <a:pt x="279880" y="206203"/>
                      <a:pt x="280518" y="204926"/>
                      <a:pt x="281796" y="203649"/>
                    </a:cubicBezTo>
                    <a:cubicBezTo>
                      <a:pt x="307356" y="177475"/>
                      <a:pt x="307356" y="135979"/>
                      <a:pt x="281796" y="109166"/>
                    </a:cubicBezTo>
                    <a:cubicBezTo>
                      <a:pt x="279240" y="106613"/>
                      <a:pt x="279240" y="102782"/>
                      <a:pt x="281796" y="100229"/>
                    </a:cubicBezTo>
                    <a:cubicBezTo>
                      <a:pt x="284352" y="97675"/>
                      <a:pt x="288186" y="97675"/>
                      <a:pt x="290742" y="100229"/>
                    </a:cubicBezTo>
                    <a:cubicBezTo>
                      <a:pt x="320775" y="131510"/>
                      <a:pt x="320136" y="181305"/>
                      <a:pt x="290103" y="212587"/>
                    </a:cubicBezTo>
                    <a:lnTo>
                      <a:pt x="290742" y="212587"/>
                    </a:lnTo>
                    <a:close/>
                  </a:path>
                </a:pathLst>
              </a:custGeom>
              <a:grpFill/>
              <a:ln w="6390" cap="flat">
                <a:noFill/>
                <a:prstDash val="solid"/>
                <a:miter/>
              </a:ln>
            </p:spPr>
            <p:txBody>
              <a:bodyPr rtlCol="0" anchor="ctr"/>
              <a:lstStyle/>
              <a:p>
                <a:endParaRPr lang="en-US">
                  <a:latin typeface="Aptos" panose="020B0004020202020204" pitchFamily="34" charset="0"/>
                </a:endParaRPr>
              </a:p>
            </p:txBody>
          </p:sp>
        </p:grpSp>
        <p:sp>
          <p:nvSpPr>
            <p:cNvPr id="57" name="Graphic 4">
              <a:extLst>
                <a:ext uri="{FF2B5EF4-FFF2-40B4-BE49-F238E27FC236}">
                  <a16:creationId xmlns:a16="http://schemas.microsoft.com/office/drawing/2014/main" id="{4BCE75BD-C7AA-AF62-73DC-08EA4A2D6ADD}"/>
                </a:ext>
              </a:extLst>
            </p:cNvPr>
            <p:cNvSpPr>
              <a:spLocks noChangeAspect="1"/>
            </p:cNvSpPr>
            <p:nvPr/>
          </p:nvSpPr>
          <p:spPr>
            <a:xfrm>
              <a:off x="6769415" y="472406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52403 w 362309"/>
                <a:gd name="connsiteY6" fmla="*/ 261743 h 361971"/>
                <a:gd name="connsiteX7" fmla="*/ 202561 w 362309"/>
                <a:gd name="connsiteY7" fmla="*/ 247060 h 361971"/>
                <a:gd name="connsiteX8" fmla="*/ 199366 w 362309"/>
                <a:gd name="connsiteY8" fmla="*/ 241315 h 361971"/>
                <a:gd name="connsiteX9" fmla="*/ 199366 w 362309"/>
                <a:gd name="connsiteY9" fmla="*/ 224716 h 361971"/>
                <a:gd name="connsiteX10" fmla="*/ 201283 w 362309"/>
                <a:gd name="connsiteY10" fmla="*/ 220247 h 361971"/>
                <a:gd name="connsiteX11" fmla="*/ 223009 w 362309"/>
                <a:gd name="connsiteY11" fmla="*/ 141724 h 361971"/>
                <a:gd name="connsiteX12" fmla="*/ 215341 w 362309"/>
                <a:gd name="connsiteY12" fmla="*/ 122572 h 361971"/>
                <a:gd name="connsiteX13" fmla="*/ 181474 w 362309"/>
                <a:gd name="connsiteY13" fmla="*/ 112358 h 361971"/>
                <a:gd name="connsiteX14" fmla="*/ 146969 w 362309"/>
                <a:gd name="connsiteY14" fmla="*/ 122572 h 361971"/>
                <a:gd name="connsiteX15" fmla="*/ 139301 w 362309"/>
                <a:gd name="connsiteY15" fmla="*/ 141724 h 361971"/>
                <a:gd name="connsiteX16" fmla="*/ 161026 w 362309"/>
                <a:gd name="connsiteY16" fmla="*/ 220247 h 361971"/>
                <a:gd name="connsiteX17" fmla="*/ 162943 w 362309"/>
                <a:gd name="connsiteY17" fmla="*/ 224716 h 361971"/>
                <a:gd name="connsiteX18" fmla="*/ 162943 w 362309"/>
                <a:gd name="connsiteY18" fmla="*/ 241315 h 361971"/>
                <a:gd name="connsiteX19" fmla="*/ 159748 w 362309"/>
                <a:gd name="connsiteY19" fmla="*/ 247060 h 361971"/>
                <a:gd name="connsiteX20" fmla="*/ 109907 w 362309"/>
                <a:gd name="connsiteY20" fmla="*/ 261743 h 361971"/>
                <a:gd name="connsiteX21" fmla="*/ 109268 w 362309"/>
                <a:gd name="connsiteY21" fmla="*/ 261743 h 361971"/>
                <a:gd name="connsiteX22" fmla="*/ 102878 w 362309"/>
                <a:gd name="connsiteY22" fmla="*/ 255359 h 361971"/>
                <a:gd name="connsiteX23" fmla="*/ 109268 w 362309"/>
                <a:gd name="connsiteY23" fmla="*/ 248975 h 361971"/>
                <a:gd name="connsiteX24" fmla="*/ 150802 w 362309"/>
                <a:gd name="connsiteY24" fmla="*/ 236846 h 361971"/>
                <a:gd name="connsiteX25" fmla="*/ 150802 w 362309"/>
                <a:gd name="connsiteY25" fmla="*/ 226631 h 361971"/>
                <a:gd name="connsiteX26" fmla="*/ 127160 w 362309"/>
                <a:gd name="connsiteY26" fmla="*/ 141086 h 361971"/>
                <a:gd name="connsiteX27" fmla="*/ 138661 w 362309"/>
                <a:gd name="connsiteY27" fmla="*/ 112996 h 361971"/>
                <a:gd name="connsiteX28" fmla="*/ 181474 w 362309"/>
                <a:gd name="connsiteY28" fmla="*/ 98952 h 361971"/>
                <a:gd name="connsiteX29" fmla="*/ 224287 w 362309"/>
                <a:gd name="connsiteY29" fmla="*/ 112996 h 361971"/>
                <a:gd name="connsiteX30" fmla="*/ 235788 w 362309"/>
                <a:gd name="connsiteY30" fmla="*/ 141086 h 361971"/>
                <a:gd name="connsiteX31" fmla="*/ 212146 w 362309"/>
                <a:gd name="connsiteY31" fmla="*/ 226631 h 361971"/>
                <a:gd name="connsiteX32" fmla="*/ 212146 w 362309"/>
                <a:gd name="connsiteY32" fmla="*/ 236846 h 361971"/>
                <a:gd name="connsiteX33" fmla="*/ 253680 w 362309"/>
                <a:gd name="connsiteY33" fmla="*/ 248975 h 361971"/>
                <a:gd name="connsiteX34" fmla="*/ 259431 w 362309"/>
                <a:gd name="connsiteY34" fmla="*/ 255998 h 361971"/>
                <a:gd name="connsiteX35" fmla="*/ 252403 w 362309"/>
                <a:gd name="connsiteY35" fmla="*/ 261743 h 361971"/>
                <a:gd name="connsiteX36" fmla="*/ 252403 w 362309"/>
                <a:gd name="connsiteY36" fmla="*/ 26174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1077"/>
                    <a:pt x="281157" y="0"/>
                    <a:pt x="181474" y="0"/>
                  </a:cubicBezTo>
                  <a:close/>
                  <a:moveTo>
                    <a:pt x="252403" y="261743"/>
                  </a:moveTo>
                  <a:cubicBezTo>
                    <a:pt x="235150" y="259828"/>
                    <a:pt x="217897" y="254721"/>
                    <a:pt x="202561" y="247060"/>
                  </a:cubicBezTo>
                  <a:cubicBezTo>
                    <a:pt x="200644" y="245783"/>
                    <a:pt x="198727" y="243868"/>
                    <a:pt x="199366" y="241315"/>
                  </a:cubicBezTo>
                  <a:lnTo>
                    <a:pt x="199366" y="224716"/>
                  </a:lnTo>
                  <a:cubicBezTo>
                    <a:pt x="199366" y="222801"/>
                    <a:pt x="200005" y="221524"/>
                    <a:pt x="201283" y="220247"/>
                  </a:cubicBezTo>
                  <a:cubicBezTo>
                    <a:pt x="219814" y="201734"/>
                    <a:pt x="223009" y="176836"/>
                    <a:pt x="223009" y="141724"/>
                  </a:cubicBezTo>
                  <a:cubicBezTo>
                    <a:pt x="223648" y="134702"/>
                    <a:pt x="220453" y="127680"/>
                    <a:pt x="215341" y="122572"/>
                  </a:cubicBezTo>
                  <a:cubicBezTo>
                    <a:pt x="205756" y="112996"/>
                    <a:pt x="187864" y="111720"/>
                    <a:pt x="181474" y="112358"/>
                  </a:cubicBezTo>
                  <a:cubicBezTo>
                    <a:pt x="180835" y="112358"/>
                    <a:pt x="159109" y="111720"/>
                    <a:pt x="146969" y="122572"/>
                  </a:cubicBezTo>
                  <a:cubicBezTo>
                    <a:pt x="141856" y="127680"/>
                    <a:pt x="139301" y="134702"/>
                    <a:pt x="139301" y="141724"/>
                  </a:cubicBezTo>
                  <a:cubicBezTo>
                    <a:pt x="139301" y="176836"/>
                    <a:pt x="143134" y="201734"/>
                    <a:pt x="161026" y="220247"/>
                  </a:cubicBezTo>
                  <a:cubicBezTo>
                    <a:pt x="162304" y="221524"/>
                    <a:pt x="162943" y="222801"/>
                    <a:pt x="162943" y="224716"/>
                  </a:cubicBezTo>
                  <a:lnTo>
                    <a:pt x="162943" y="241315"/>
                  </a:lnTo>
                  <a:cubicBezTo>
                    <a:pt x="162943" y="243868"/>
                    <a:pt x="161665" y="245783"/>
                    <a:pt x="159748" y="247060"/>
                  </a:cubicBezTo>
                  <a:cubicBezTo>
                    <a:pt x="143774" y="254721"/>
                    <a:pt x="127160" y="259828"/>
                    <a:pt x="109907" y="261743"/>
                  </a:cubicBezTo>
                  <a:lnTo>
                    <a:pt x="109268" y="261743"/>
                  </a:lnTo>
                  <a:cubicBezTo>
                    <a:pt x="105434" y="261743"/>
                    <a:pt x="102878" y="259190"/>
                    <a:pt x="102878" y="255359"/>
                  </a:cubicBezTo>
                  <a:cubicBezTo>
                    <a:pt x="102878" y="251529"/>
                    <a:pt x="105434" y="248975"/>
                    <a:pt x="109268" y="248975"/>
                  </a:cubicBezTo>
                  <a:cubicBezTo>
                    <a:pt x="123965" y="247060"/>
                    <a:pt x="138022" y="243230"/>
                    <a:pt x="150802" y="236846"/>
                  </a:cubicBezTo>
                  <a:lnTo>
                    <a:pt x="150802" y="226631"/>
                  </a:lnTo>
                  <a:cubicBezTo>
                    <a:pt x="130994" y="205564"/>
                    <a:pt x="127160" y="176836"/>
                    <a:pt x="127160" y="141086"/>
                  </a:cubicBezTo>
                  <a:cubicBezTo>
                    <a:pt x="126521" y="130233"/>
                    <a:pt x="130994" y="120019"/>
                    <a:pt x="138661" y="112996"/>
                  </a:cubicBezTo>
                  <a:cubicBezTo>
                    <a:pt x="154636" y="98313"/>
                    <a:pt x="180835" y="98952"/>
                    <a:pt x="181474" y="98952"/>
                  </a:cubicBezTo>
                  <a:cubicBezTo>
                    <a:pt x="182113" y="98952"/>
                    <a:pt x="208312" y="97675"/>
                    <a:pt x="224287" y="112996"/>
                  </a:cubicBezTo>
                  <a:cubicBezTo>
                    <a:pt x="231955" y="120657"/>
                    <a:pt x="235788" y="130872"/>
                    <a:pt x="235788" y="141086"/>
                  </a:cubicBezTo>
                  <a:cubicBezTo>
                    <a:pt x="235788" y="176836"/>
                    <a:pt x="231315" y="205564"/>
                    <a:pt x="212146" y="226631"/>
                  </a:cubicBezTo>
                  <a:lnTo>
                    <a:pt x="212146" y="236846"/>
                  </a:lnTo>
                  <a:cubicBezTo>
                    <a:pt x="225565" y="243230"/>
                    <a:pt x="239623" y="247060"/>
                    <a:pt x="253680" y="248975"/>
                  </a:cubicBezTo>
                  <a:cubicBezTo>
                    <a:pt x="257514" y="248975"/>
                    <a:pt x="260070" y="252167"/>
                    <a:pt x="259431" y="255998"/>
                  </a:cubicBezTo>
                  <a:cubicBezTo>
                    <a:pt x="258792" y="259190"/>
                    <a:pt x="255597" y="261743"/>
                    <a:pt x="252403" y="261743"/>
                  </a:cubicBezTo>
                  <a:lnTo>
                    <a:pt x="252403" y="261743"/>
                  </a:lnTo>
                  <a:close/>
                </a:path>
              </a:pathLst>
            </a:custGeom>
            <a:solidFill>
              <a:schemeClr val="accent1"/>
            </a:solidFill>
            <a:ln w="6390" cap="flat">
              <a:noFill/>
              <a:prstDash val="solid"/>
              <a:miter/>
            </a:ln>
          </p:spPr>
          <p:txBody>
            <a:bodyPr rtlCol="0" anchor="ctr"/>
            <a:lstStyle/>
            <a:p>
              <a:endParaRPr lang="en-US">
                <a:latin typeface="Aptos" panose="020B0004020202020204" pitchFamily="34" charset="0"/>
              </a:endParaRPr>
            </a:p>
          </p:txBody>
        </p:sp>
        <p:grpSp>
          <p:nvGrpSpPr>
            <p:cNvPr id="58" name="Graphic 4">
              <a:extLst>
                <a:ext uri="{FF2B5EF4-FFF2-40B4-BE49-F238E27FC236}">
                  <a16:creationId xmlns:a16="http://schemas.microsoft.com/office/drawing/2014/main" id="{5DFE2583-8D8A-E5E2-B05B-02F05F5EF427}"/>
                </a:ext>
              </a:extLst>
            </p:cNvPr>
            <p:cNvGrpSpPr>
              <a:grpSpLocks noChangeAspect="1"/>
            </p:cNvGrpSpPr>
            <p:nvPr/>
          </p:nvGrpSpPr>
          <p:grpSpPr>
            <a:xfrm>
              <a:off x="6765902" y="2126622"/>
              <a:ext cx="362309" cy="361971"/>
              <a:chOff x="6146480" y="4793256"/>
              <a:chExt cx="362309" cy="361971"/>
            </a:xfrm>
            <a:solidFill>
              <a:schemeClr val="accent1"/>
            </a:solidFill>
          </p:grpSpPr>
          <p:sp>
            <p:nvSpPr>
              <p:cNvPr id="59" name="Graphic 4">
                <a:extLst>
                  <a:ext uri="{FF2B5EF4-FFF2-40B4-BE49-F238E27FC236}">
                    <a16:creationId xmlns:a16="http://schemas.microsoft.com/office/drawing/2014/main" id="{325A2609-4FB6-E10A-AA2D-AC2D14CBB4E3}"/>
                  </a:ext>
                </a:extLst>
              </p:cNvPr>
              <p:cNvSpPr/>
              <p:nvPr/>
            </p:nvSpPr>
            <p:spPr>
              <a:xfrm>
                <a:off x="6146480"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7864 w 362309"/>
                  <a:gd name="connsiteY7" fmla="*/ 248337 h 361971"/>
                  <a:gd name="connsiteX8" fmla="*/ 183391 w 362309"/>
                  <a:gd name="connsiteY8" fmla="*/ 252167 h 361971"/>
                  <a:gd name="connsiteX9" fmla="*/ 184669 w 362309"/>
                  <a:gd name="connsiteY9" fmla="*/ 257913 h 361971"/>
                  <a:gd name="connsiteX10" fmla="*/ 180196 w 362309"/>
                  <a:gd name="connsiteY10" fmla="*/ 278341 h 361971"/>
                  <a:gd name="connsiteX11" fmla="*/ 168055 w 362309"/>
                  <a:gd name="connsiteY11" fmla="*/ 280257 h 361971"/>
                  <a:gd name="connsiteX12" fmla="*/ 161665 w 362309"/>
                  <a:gd name="connsiteY12" fmla="*/ 280895 h 361971"/>
                  <a:gd name="connsiteX13" fmla="*/ 159109 w 362309"/>
                  <a:gd name="connsiteY13" fmla="*/ 286002 h 361971"/>
                  <a:gd name="connsiteX14" fmla="*/ 148885 w 362309"/>
                  <a:gd name="connsiteY14" fmla="*/ 299409 h 361971"/>
                  <a:gd name="connsiteX15" fmla="*/ 145690 w 362309"/>
                  <a:gd name="connsiteY15" fmla="*/ 300047 h 361971"/>
                  <a:gd name="connsiteX16" fmla="*/ 132911 w 362309"/>
                  <a:gd name="connsiteY16" fmla="*/ 294301 h 361971"/>
                  <a:gd name="connsiteX17" fmla="*/ 127799 w 362309"/>
                  <a:gd name="connsiteY17" fmla="*/ 291109 h 361971"/>
                  <a:gd name="connsiteX18" fmla="*/ 122686 w 362309"/>
                  <a:gd name="connsiteY18" fmla="*/ 294301 h 361971"/>
                  <a:gd name="connsiteX19" fmla="*/ 106712 w 362309"/>
                  <a:gd name="connsiteY19" fmla="*/ 298770 h 361971"/>
                  <a:gd name="connsiteX20" fmla="*/ 97127 w 362309"/>
                  <a:gd name="connsiteY20" fmla="*/ 285364 h 361971"/>
                  <a:gd name="connsiteX21" fmla="*/ 94571 w 362309"/>
                  <a:gd name="connsiteY21" fmla="*/ 279618 h 361971"/>
                  <a:gd name="connsiteX22" fmla="*/ 88820 w 362309"/>
                  <a:gd name="connsiteY22" fmla="*/ 278980 h 361971"/>
                  <a:gd name="connsiteX23" fmla="*/ 72845 w 362309"/>
                  <a:gd name="connsiteY23" fmla="*/ 273234 h 361971"/>
                  <a:gd name="connsiteX24" fmla="*/ 72845 w 362309"/>
                  <a:gd name="connsiteY24" fmla="*/ 256636 h 361971"/>
                  <a:gd name="connsiteX25" fmla="*/ 74123 w 362309"/>
                  <a:gd name="connsiteY25" fmla="*/ 250252 h 361971"/>
                  <a:gd name="connsiteX26" fmla="*/ 69650 w 362309"/>
                  <a:gd name="connsiteY26" fmla="*/ 245783 h 361971"/>
                  <a:gd name="connsiteX27" fmla="*/ 60065 w 362309"/>
                  <a:gd name="connsiteY27" fmla="*/ 232377 h 361971"/>
                  <a:gd name="connsiteX28" fmla="*/ 69650 w 362309"/>
                  <a:gd name="connsiteY28" fmla="*/ 218971 h 361971"/>
                  <a:gd name="connsiteX29" fmla="*/ 74123 w 362309"/>
                  <a:gd name="connsiteY29" fmla="*/ 215140 h 361971"/>
                  <a:gd name="connsiteX30" fmla="*/ 72845 w 362309"/>
                  <a:gd name="connsiteY30" fmla="*/ 209395 h 361971"/>
                  <a:gd name="connsiteX31" fmla="*/ 76679 w 362309"/>
                  <a:gd name="connsiteY31" fmla="*/ 188966 h 361971"/>
                  <a:gd name="connsiteX32" fmla="*/ 88820 w 362309"/>
                  <a:gd name="connsiteY32" fmla="*/ 187051 h 361971"/>
                  <a:gd name="connsiteX33" fmla="*/ 95210 w 362309"/>
                  <a:gd name="connsiteY33" fmla="*/ 186412 h 361971"/>
                  <a:gd name="connsiteX34" fmla="*/ 97766 w 362309"/>
                  <a:gd name="connsiteY34" fmla="*/ 181305 h 361971"/>
                  <a:gd name="connsiteX35" fmla="*/ 107990 w 362309"/>
                  <a:gd name="connsiteY35" fmla="*/ 167899 h 361971"/>
                  <a:gd name="connsiteX36" fmla="*/ 123965 w 362309"/>
                  <a:gd name="connsiteY36" fmla="*/ 173006 h 361971"/>
                  <a:gd name="connsiteX37" fmla="*/ 129076 w 362309"/>
                  <a:gd name="connsiteY37" fmla="*/ 176198 h 361971"/>
                  <a:gd name="connsiteX38" fmla="*/ 134189 w 362309"/>
                  <a:gd name="connsiteY38" fmla="*/ 173006 h 361971"/>
                  <a:gd name="connsiteX39" fmla="*/ 150164 w 362309"/>
                  <a:gd name="connsiteY39" fmla="*/ 168537 h 361971"/>
                  <a:gd name="connsiteX40" fmla="*/ 159748 w 362309"/>
                  <a:gd name="connsiteY40" fmla="*/ 181944 h 361971"/>
                  <a:gd name="connsiteX41" fmla="*/ 162304 w 362309"/>
                  <a:gd name="connsiteY41" fmla="*/ 187689 h 361971"/>
                  <a:gd name="connsiteX42" fmla="*/ 168055 w 362309"/>
                  <a:gd name="connsiteY42" fmla="*/ 188327 h 361971"/>
                  <a:gd name="connsiteX43" fmla="*/ 184030 w 362309"/>
                  <a:gd name="connsiteY43" fmla="*/ 194073 h 361971"/>
                  <a:gd name="connsiteX44" fmla="*/ 184030 w 362309"/>
                  <a:gd name="connsiteY44" fmla="*/ 210671 h 361971"/>
                  <a:gd name="connsiteX45" fmla="*/ 182752 w 362309"/>
                  <a:gd name="connsiteY45" fmla="*/ 217055 h 361971"/>
                  <a:gd name="connsiteX46" fmla="*/ 187225 w 362309"/>
                  <a:gd name="connsiteY46" fmla="*/ 221524 h 361971"/>
                  <a:gd name="connsiteX47" fmla="*/ 196810 w 362309"/>
                  <a:gd name="connsiteY47" fmla="*/ 234930 h 361971"/>
                  <a:gd name="connsiteX48" fmla="*/ 187864 w 362309"/>
                  <a:gd name="connsiteY48" fmla="*/ 248337 h 361971"/>
                  <a:gd name="connsiteX49" fmla="*/ 187864 w 362309"/>
                  <a:gd name="connsiteY49" fmla="*/ 248337 h 361971"/>
                  <a:gd name="connsiteX50" fmla="*/ 293298 w 362309"/>
                  <a:gd name="connsiteY50" fmla="*/ 142363 h 361971"/>
                  <a:gd name="connsiteX51" fmla="*/ 288825 w 362309"/>
                  <a:gd name="connsiteY51" fmla="*/ 146193 h 361971"/>
                  <a:gd name="connsiteX52" fmla="*/ 290103 w 362309"/>
                  <a:gd name="connsiteY52" fmla="*/ 151939 h 361971"/>
                  <a:gd name="connsiteX53" fmla="*/ 285630 w 362309"/>
                  <a:gd name="connsiteY53" fmla="*/ 172368 h 361971"/>
                  <a:gd name="connsiteX54" fmla="*/ 273489 w 362309"/>
                  <a:gd name="connsiteY54" fmla="*/ 174283 h 361971"/>
                  <a:gd name="connsiteX55" fmla="*/ 267099 w 362309"/>
                  <a:gd name="connsiteY55" fmla="*/ 174921 h 361971"/>
                  <a:gd name="connsiteX56" fmla="*/ 264543 w 362309"/>
                  <a:gd name="connsiteY56" fmla="*/ 180028 h 361971"/>
                  <a:gd name="connsiteX57" fmla="*/ 254319 w 362309"/>
                  <a:gd name="connsiteY57" fmla="*/ 193435 h 361971"/>
                  <a:gd name="connsiteX58" fmla="*/ 251124 w 362309"/>
                  <a:gd name="connsiteY58" fmla="*/ 194073 h 361971"/>
                  <a:gd name="connsiteX59" fmla="*/ 238345 w 362309"/>
                  <a:gd name="connsiteY59" fmla="*/ 188327 h 361971"/>
                  <a:gd name="connsiteX60" fmla="*/ 233233 w 362309"/>
                  <a:gd name="connsiteY60" fmla="*/ 185135 h 361971"/>
                  <a:gd name="connsiteX61" fmla="*/ 228120 w 362309"/>
                  <a:gd name="connsiteY61" fmla="*/ 188327 h 361971"/>
                  <a:gd name="connsiteX62" fmla="*/ 212146 w 362309"/>
                  <a:gd name="connsiteY62" fmla="*/ 192796 h 361971"/>
                  <a:gd name="connsiteX63" fmla="*/ 201922 w 362309"/>
                  <a:gd name="connsiteY63" fmla="*/ 179390 h 361971"/>
                  <a:gd name="connsiteX64" fmla="*/ 199366 w 362309"/>
                  <a:gd name="connsiteY64" fmla="*/ 173644 h 361971"/>
                  <a:gd name="connsiteX65" fmla="*/ 193615 w 362309"/>
                  <a:gd name="connsiteY65" fmla="*/ 173006 h 361971"/>
                  <a:gd name="connsiteX66" fmla="*/ 175723 w 362309"/>
                  <a:gd name="connsiteY66" fmla="*/ 162792 h 361971"/>
                  <a:gd name="connsiteX67" fmla="*/ 177640 w 362309"/>
                  <a:gd name="connsiteY67" fmla="*/ 150662 h 361971"/>
                  <a:gd name="connsiteX68" fmla="*/ 178918 w 362309"/>
                  <a:gd name="connsiteY68" fmla="*/ 144278 h 361971"/>
                  <a:gd name="connsiteX69" fmla="*/ 174445 w 362309"/>
                  <a:gd name="connsiteY69" fmla="*/ 139809 h 361971"/>
                  <a:gd name="connsiteX70" fmla="*/ 164860 w 362309"/>
                  <a:gd name="connsiteY70" fmla="*/ 126403 h 361971"/>
                  <a:gd name="connsiteX71" fmla="*/ 174445 w 362309"/>
                  <a:gd name="connsiteY71" fmla="*/ 112997 h 361971"/>
                  <a:gd name="connsiteX72" fmla="*/ 178918 w 362309"/>
                  <a:gd name="connsiteY72" fmla="*/ 109166 h 361971"/>
                  <a:gd name="connsiteX73" fmla="*/ 177640 w 362309"/>
                  <a:gd name="connsiteY73" fmla="*/ 103421 h 361971"/>
                  <a:gd name="connsiteX74" fmla="*/ 178279 w 362309"/>
                  <a:gd name="connsiteY74" fmla="*/ 86822 h 361971"/>
                  <a:gd name="connsiteX75" fmla="*/ 194254 w 362309"/>
                  <a:gd name="connsiteY75" fmla="*/ 81715 h 361971"/>
                  <a:gd name="connsiteX76" fmla="*/ 200644 w 362309"/>
                  <a:gd name="connsiteY76" fmla="*/ 81077 h 361971"/>
                  <a:gd name="connsiteX77" fmla="*/ 203200 w 362309"/>
                  <a:gd name="connsiteY77" fmla="*/ 75969 h 361971"/>
                  <a:gd name="connsiteX78" fmla="*/ 213424 w 362309"/>
                  <a:gd name="connsiteY78" fmla="*/ 62563 h 361971"/>
                  <a:gd name="connsiteX79" fmla="*/ 229399 w 362309"/>
                  <a:gd name="connsiteY79" fmla="*/ 67670 h 361971"/>
                  <a:gd name="connsiteX80" fmla="*/ 234510 w 362309"/>
                  <a:gd name="connsiteY80" fmla="*/ 70862 h 361971"/>
                  <a:gd name="connsiteX81" fmla="*/ 239623 w 362309"/>
                  <a:gd name="connsiteY81" fmla="*/ 67670 h 361971"/>
                  <a:gd name="connsiteX82" fmla="*/ 255597 w 362309"/>
                  <a:gd name="connsiteY82" fmla="*/ 63201 h 361971"/>
                  <a:gd name="connsiteX83" fmla="*/ 265182 w 362309"/>
                  <a:gd name="connsiteY83" fmla="*/ 76608 h 361971"/>
                  <a:gd name="connsiteX84" fmla="*/ 267738 w 362309"/>
                  <a:gd name="connsiteY84" fmla="*/ 82353 h 361971"/>
                  <a:gd name="connsiteX85" fmla="*/ 273489 w 362309"/>
                  <a:gd name="connsiteY85" fmla="*/ 82992 h 361971"/>
                  <a:gd name="connsiteX86" fmla="*/ 289464 w 362309"/>
                  <a:gd name="connsiteY86" fmla="*/ 88737 h 361971"/>
                  <a:gd name="connsiteX87" fmla="*/ 289464 w 362309"/>
                  <a:gd name="connsiteY87" fmla="*/ 105336 h 361971"/>
                  <a:gd name="connsiteX88" fmla="*/ 288186 w 362309"/>
                  <a:gd name="connsiteY88" fmla="*/ 111720 h 361971"/>
                  <a:gd name="connsiteX89" fmla="*/ 293298 w 362309"/>
                  <a:gd name="connsiteY89" fmla="*/ 116189 h 361971"/>
                  <a:gd name="connsiteX90" fmla="*/ 301605 w 362309"/>
                  <a:gd name="connsiteY90" fmla="*/ 135341 h 361971"/>
                  <a:gd name="connsiteX91" fmla="*/ 293298 w 362309"/>
                  <a:gd name="connsiteY91" fmla="*/ 142363 h 361971"/>
                  <a:gd name="connsiteX92" fmla="*/ 293298 w 362309"/>
                  <a:gd name="connsiteY92" fmla="*/ 14236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0438"/>
                      <a:pt x="281157" y="0"/>
                      <a:pt x="181474" y="0"/>
                    </a:cubicBezTo>
                    <a:lnTo>
                      <a:pt x="181474" y="0"/>
                    </a:lnTo>
                    <a:close/>
                    <a:moveTo>
                      <a:pt x="187864" y="248337"/>
                    </a:moveTo>
                    <a:cubicBezTo>
                      <a:pt x="185947" y="249614"/>
                      <a:pt x="184669" y="250890"/>
                      <a:pt x="183391" y="252167"/>
                    </a:cubicBezTo>
                    <a:cubicBezTo>
                      <a:pt x="183391" y="254082"/>
                      <a:pt x="184030" y="255998"/>
                      <a:pt x="184669" y="257913"/>
                    </a:cubicBezTo>
                    <a:cubicBezTo>
                      <a:pt x="189142" y="264935"/>
                      <a:pt x="187225" y="273873"/>
                      <a:pt x="180196" y="278341"/>
                    </a:cubicBezTo>
                    <a:cubicBezTo>
                      <a:pt x="176362" y="280895"/>
                      <a:pt x="171889" y="281533"/>
                      <a:pt x="168055" y="280257"/>
                    </a:cubicBezTo>
                    <a:cubicBezTo>
                      <a:pt x="166138" y="280257"/>
                      <a:pt x="163582" y="280257"/>
                      <a:pt x="161665" y="280895"/>
                    </a:cubicBezTo>
                    <a:cubicBezTo>
                      <a:pt x="160387" y="282810"/>
                      <a:pt x="159748" y="284087"/>
                      <a:pt x="159109" y="286002"/>
                    </a:cubicBezTo>
                    <a:cubicBezTo>
                      <a:pt x="157192" y="291109"/>
                      <a:pt x="154636" y="297493"/>
                      <a:pt x="148885" y="299409"/>
                    </a:cubicBezTo>
                    <a:cubicBezTo>
                      <a:pt x="147607" y="300047"/>
                      <a:pt x="146329" y="300047"/>
                      <a:pt x="145690" y="300047"/>
                    </a:cubicBezTo>
                    <a:cubicBezTo>
                      <a:pt x="141217" y="299409"/>
                      <a:pt x="136744" y="297493"/>
                      <a:pt x="132911" y="294301"/>
                    </a:cubicBezTo>
                    <a:cubicBezTo>
                      <a:pt x="131633" y="293025"/>
                      <a:pt x="129716" y="291748"/>
                      <a:pt x="127799" y="291109"/>
                    </a:cubicBezTo>
                    <a:cubicBezTo>
                      <a:pt x="125881" y="291748"/>
                      <a:pt x="123965" y="293025"/>
                      <a:pt x="122686" y="294301"/>
                    </a:cubicBezTo>
                    <a:cubicBezTo>
                      <a:pt x="118214" y="298132"/>
                      <a:pt x="112463" y="300047"/>
                      <a:pt x="106712" y="298770"/>
                    </a:cubicBezTo>
                    <a:cubicBezTo>
                      <a:pt x="100322" y="296855"/>
                      <a:pt x="98405" y="290471"/>
                      <a:pt x="97127" y="285364"/>
                    </a:cubicBezTo>
                    <a:cubicBezTo>
                      <a:pt x="96488" y="283449"/>
                      <a:pt x="95849" y="281533"/>
                      <a:pt x="94571" y="279618"/>
                    </a:cubicBezTo>
                    <a:cubicBezTo>
                      <a:pt x="92654" y="278980"/>
                      <a:pt x="90737" y="278980"/>
                      <a:pt x="88820" y="278980"/>
                    </a:cubicBezTo>
                    <a:cubicBezTo>
                      <a:pt x="83069" y="279618"/>
                      <a:pt x="76679" y="277703"/>
                      <a:pt x="72845" y="273234"/>
                    </a:cubicBezTo>
                    <a:cubicBezTo>
                      <a:pt x="70289" y="268127"/>
                      <a:pt x="70289" y="261743"/>
                      <a:pt x="72845" y="256636"/>
                    </a:cubicBezTo>
                    <a:cubicBezTo>
                      <a:pt x="73484" y="254721"/>
                      <a:pt x="74123" y="252167"/>
                      <a:pt x="74123" y="250252"/>
                    </a:cubicBezTo>
                    <a:cubicBezTo>
                      <a:pt x="72845" y="248337"/>
                      <a:pt x="70928" y="247060"/>
                      <a:pt x="69650" y="245783"/>
                    </a:cubicBezTo>
                    <a:cubicBezTo>
                      <a:pt x="65177" y="242591"/>
                      <a:pt x="60065" y="238122"/>
                      <a:pt x="60065" y="232377"/>
                    </a:cubicBezTo>
                    <a:cubicBezTo>
                      <a:pt x="60065" y="226631"/>
                      <a:pt x="65816" y="222163"/>
                      <a:pt x="69650" y="218971"/>
                    </a:cubicBezTo>
                    <a:cubicBezTo>
                      <a:pt x="71567" y="217694"/>
                      <a:pt x="72845" y="216417"/>
                      <a:pt x="74123" y="215140"/>
                    </a:cubicBezTo>
                    <a:cubicBezTo>
                      <a:pt x="74123" y="213225"/>
                      <a:pt x="73484" y="211310"/>
                      <a:pt x="72845" y="209395"/>
                    </a:cubicBezTo>
                    <a:cubicBezTo>
                      <a:pt x="68372" y="202372"/>
                      <a:pt x="70289" y="193435"/>
                      <a:pt x="76679" y="188966"/>
                    </a:cubicBezTo>
                    <a:cubicBezTo>
                      <a:pt x="80513" y="186412"/>
                      <a:pt x="84986" y="185774"/>
                      <a:pt x="88820" y="187051"/>
                    </a:cubicBezTo>
                    <a:cubicBezTo>
                      <a:pt x="90737" y="187051"/>
                      <a:pt x="93293" y="187051"/>
                      <a:pt x="95210" y="186412"/>
                    </a:cubicBezTo>
                    <a:cubicBezTo>
                      <a:pt x="95849" y="184497"/>
                      <a:pt x="97127" y="182582"/>
                      <a:pt x="97766" y="181305"/>
                    </a:cubicBezTo>
                    <a:cubicBezTo>
                      <a:pt x="99683" y="176198"/>
                      <a:pt x="102239" y="169814"/>
                      <a:pt x="107990" y="167899"/>
                    </a:cubicBezTo>
                    <a:cubicBezTo>
                      <a:pt x="113741" y="167260"/>
                      <a:pt x="120131" y="169176"/>
                      <a:pt x="123965" y="173006"/>
                    </a:cubicBezTo>
                    <a:cubicBezTo>
                      <a:pt x="125243" y="174283"/>
                      <a:pt x="127160" y="175560"/>
                      <a:pt x="129076" y="176198"/>
                    </a:cubicBezTo>
                    <a:cubicBezTo>
                      <a:pt x="130994" y="175560"/>
                      <a:pt x="132911" y="174283"/>
                      <a:pt x="134189" y="173006"/>
                    </a:cubicBezTo>
                    <a:cubicBezTo>
                      <a:pt x="138661" y="169176"/>
                      <a:pt x="144412" y="167260"/>
                      <a:pt x="150164" y="168537"/>
                    </a:cubicBezTo>
                    <a:cubicBezTo>
                      <a:pt x="156553" y="170452"/>
                      <a:pt x="158470" y="176836"/>
                      <a:pt x="159748" y="181944"/>
                    </a:cubicBezTo>
                    <a:cubicBezTo>
                      <a:pt x="160387" y="183859"/>
                      <a:pt x="161026" y="185774"/>
                      <a:pt x="162304" y="187689"/>
                    </a:cubicBezTo>
                    <a:cubicBezTo>
                      <a:pt x="164221" y="188327"/>
                      <a:pt x="166138" y="188327"/>
                      <a:pt x="168055" y="188327"/>
                    </a:cubicBezTo>
                    <a:cubicBezTo>
                      <a:pt x="173806" y="187689"/>
                      <a:pt x="179557" y="189604"/>
                      <a:pt x="184030" y="194073"/>
                    </a:cubicBezTo>
                    <a:cubicBezTo>
                      <a:pt x="186586" y="199180"/>
                      <a:pt x="186586" y="205564"/>
                      <a:pt x="184030" y="210671"/>
                    </a:cubicBezTo>
                    <a:cubicBezTo>
                      <a:pt x="183391" y="212587"/>
                      <a:pt x="182752" y="215140"/>
                      <a:pt x="182752" y="217055"/>
                    </a:cubicBezTo>
                    <a:cubicBezTo>
                      <a:pt x="184030" y="218971"/>
                      <a:pt x="185947" y="220247"/>
                      <a:pt x="187225" y="221524"/>
                    </a:cubicBezTo>
                    <a:cubicBezTo>
                      <a:pt x="191698" y="224716"/>
                      <a:pt x="196810" y="229185"/>
                      <a:pt x="196810" y="234930"/>
                    </a:cubicBezTo>
                    <a:cubicBezTo>
                      <a:pt x="196810" y="240676"/>
                      <a:pt x="191698" y="245145"/>
                      <a:pt x="187864" y="248337"/>
                    </a:cubicBezTo>
                    <a:lnTo>
                      <a:pt x="187864" y="248337"/>
                    </a:lnTo>
                    <a:close/>
                    <a:moveTo>
                      <a:pt x="293298" y="142363"/>
                    </a:moveTo>
                    <a:cubicBezTo>
                      <a:pt x="291381" y="143640"/>
                      <a:pt x="290103" y="144916"/>
                      <a:pt x="288825" y="146193"/>
                    </a:cubicBezTo>
                    <a:cubicBezTo>
                      <a:pt x="288825" y="148108"/>
                      <a:pt x="289464" y="150024"/>
                      <a:pt x="290103" y="151939"/>
                    </a:cubicBezTo>
                    <a:cubicBezTo>
                      <a:pt x="294576" y="158961"/>
                      <a:pt x="292659" y="167899"/>
                      <a:pt x="285630" y="172368"/>
                    </a:cubicBezTo>
                    <a:cubicBezTo>
                      <a:pt x="281796" y="174921"/>
                      <a:pt x="277962" y="175560"/>
                      <a:pt x="273489" y="174283"/>
                    </a:cubicBezTo>
                    <a:cubicBezTo>
                      <a:pt x="271572" y="174283"/>
                      <a:pt x="269016" y="174283"/>
                      <a:pt x="267099" y="174921"/>
                    </a:cubicBezTo>
                    <a:cubicBezTo>
                      <a:pt x="265821" y="176836"/>
                      <a:pt x="265182" y="178752"/>
                      <a:pt x="264543" y="180028"/>
                    </a:cubicBezTo>
                    <a:cubicBezTo>
                      <a:pt x="262626" y="185135"/>
                      <a:pt x="260070" y="191519"/>
                      <a:pt x="254319" y="193435"/>
                    </a:cubicBezTo>
                    <a:cubicBezTo>
                      <a:pt x="253041" y="194073"/>
                      <a:pt x="251763" y="194073"/>
                      <a:pt x="251124" y="194073"/>
                    </a:cubicBezTo>
                    <a:cubicBezTo>
                      <a:pt x="246651" y="193435"/>
                      <a:pt x="242178" y="191519"/>
                      <a:pt x="238345" y="188327"/>
                    </a:cubicBezTo>
                    <a:cubicBezTo>
                      <a:pt x="236428" y="187051"/>
                      <a:pt x="235150" y="185774"/>
                      <a:pt x="233233" y="185135"/>
                    </a:cubicBezTo>
                    <a:cubicBezTo>
                      <a:pt x="231315" y="185774"/>
                      <a:pt x="229399" y="187051"/>
                      <a:pt x="228120" y="188327"/>
                    </a:cubicBezTo>
                    <a:cubicBezTo>
                      <a:pt x="223648" y="192158"/>
                      <a:pt x="217897" y="194073"/>
                      <a:pt x="212146" y="192796"/>
                    </a:cubicBezTo>
                    <a:cubicBezTo>
                      <a:pt x="205756" y="190881"/>
                      <a:pt x="203839" y="184497"/>
                      <a:pt x="201922" y="179390"/>
                    </a:cubicBezTo>
                    <a:cubicBezTo>
                      <a:pt x="201283" y="177475"/>
                      <a:pt x="200644" y="175560"/>
                      <a:pt x="199366" y="173644"/>
                    </a:cubicBezTo>
                    <a:cubicBezTo>
                      <a:pt x="197449" y="173006"/>
                      <a:pt x="195532" y="173006"/>
                      <a:pt x="193615" y="173006"/>
                    </a:cubicBezTo>
                    <a:cubicBezTo>
                      <a:pt x="185947" y="174921"/>
                      <a:pt x="177640" y="170452"/>
                      <a:pt x="175723" y="162792"/>
                    </a:cubicBezTo>
                    <a:cubicBezTo>
                      <a:pt x="174445" y="158961"/>
                      <a:pt x="175084" y="154492"/>
                      <a:pt x="177640" y="150662"/>
                    </a:cubicBezTo>
                    <a:cubicBezTo>
                      <a:pt x="178279" y="148747"/>
                      <a:pt x="178918" y="146193"/>
                      <a:pt x="178918" y="144278"/>
                    </a:cubicBezTo>
                    <a:cubicBezTo>
                      <a:pt x="177640" y="142363"/>
                      <a:pt x="175723" y="141086"/>
                      <a:pt x="174445" y="139809"/>
                    </a:cubicBezTo>
                    <a:cubicBezTo>
                      <a:pt x="169972" y="136617"/>
                      <a:pt x="164860" y="132149"/>
                      <a:pt x="164860" y="126403"/>
                    </a:cubicBezTo>
                    <a:cubicBezTo>
                      <a:pt x="164860" y="120657"/>
                      <a:pt x="170611" y="116189"/>
                      <a:pt x="174445" y="112997"/>
                    </a:cubicBezTo>
                    <a:cubicBezTo>
                      <a:pt x="176362" y="111720"/>
                      <a:pt x="177640" y="110443"/>
                      <a:pt x="178918" y="109166"/>
                    </a:cubicBezTo>
                    <a:cubicBezTo>
                      <a:pt x="178918" y="107251"/>
                      <a:pt x="178279" y="105336"/>
                      <a:pt x="177640" y="103421"/>
                    </a:cubicBezTo>
                    <a:cubicBezTo>
                      <a:pt x="175084" y="98313"/>
                      <a:pt x="175723" y="91929"/>
                      <a:pt x="178279" y="86822"/>
                    </a:cubicBezTo>
                    <a:cubicBezTo>
                      <a:pt x="182113" y="82992"/>
                      <a:pt x="188503" y="80438"/>
                      <a:pt x="194254" y="81715"/>
                    </a:cubicBezTo>
                    <a:cubicBezTo>
                      <a:pt x="196171" y="81715"/>
                      <a:pt x="198727" y="81715"/>
                      <a:pt x="200644" y="81077"/>
                    </a:cubicBezTo>
                    <a:cubicBezTo>
                      <a:pt x="201922" y="79161"/>
                      <a:pt x="202561" y="77885"/>
                      <a:pt x="203200" y="75969"/>
                    </a:cubicBezTo>
                    <a:cubicBezTo>
                      <a:pt x="205117" y="70862"/>
                      <a:pt x="207673" y="64478"/>
                      <a:pt x="213424" y="62563"/>
                    </a:cubicBezTo>
                    <a:cubicBezTo>
                      <a:pt x="219175" y="61925"/>
                      <a:pt x="225565" y="63840"/>
                      <a:pt x="229399" y="67670"/>
                    </a:cubicBezTo>
                    <a:cubicBezTo>
                      <a:pt x="230677" y="68947"/>
                      <a:pt x="232593" y="70224"/>
                      <a:pt x="234510" y="70862"/>
                    </a:cubicBezTo>
                    <a:cubicBezTo>
                      <a:pt x="236428" y="70224"/>
                      <a:pt x="238345" y="68947"/>
                      <a:pt x="239623" y="67670"/>
                    </a:cubicBezTo>
                    <a:cubicBezTo>
                      <a:pt x="244095" y="63840"/>
                      <a:pt x="249846" y="62563"/>
                      <a:pt x="255597" y="63201"/>
                    </a:cubicBezTo>
                    <a:cubicBezTo>
                      <a:pt x="261348" y="65117"/>
                      <a:pt x="263904" y="71501"/>
                      <a:pt x="265182" y="76608"/>
                    </a:cubicBezTo>
                    <a:cubicBezTo>
                      <a:pt x="265821" y="78523"/>
                      <a:pt x="266460" y="80438"/>
                      <a:pt x="267738" y="82353"/>
                    </a:cubicBezTo>
                    <a:cubicBezTo>
                      <a:pt x="269655" y="82992"/>
                      <a:pt x="271572" y="82992"/>
                      <a:pt x="273489" y="82992"/>
                    </a:cubicBezTo>
                    <a:cubicBezTo>
                      <a:pt x="279240" y="82353"/>
                      <a:pt x="284991" y="84269"/>
                      <a:pt x="289464" y="88737"/>
                    </a:cubicBezTo>
                    <a:cubicBezTo>
                      <a:pt x="292020" y="93845"/>
                      <a:pt x="292020" y="100229"/>
                      <a:pt x="289464" y="105336"/>
                    </a:cubicBezTo>
                    <a:cubicBezTo>
                      <a:pt x="288825" y="107251"/>
                      <a:pt x="288186" y="109805"/>
                      <a:pt x="288186" y="111720"/>
                    </a:cubicBezTo>
                    <a:cubicBezTo>
                      <a:pt x="289464" y="113635"/>
                      <a:pt x="291381" y="114912"/>
                      <a:pt x="293298" y="116189"/>
                    </a:cubicBezTo>
                    <a:cubicBezTo>
                      <a:pt x="300966" y="119381"/>
                      <a:pt x="304161" y="127680"/>
                      <a:pt x="301605" y="135341"/>
                    </a:cubicBezTo>
                    <a:cubicBezTo>
                      <a:pt x="300327" y="138533"/>
                      <a:pt x="297132" y="141086"/>
                      <a:pt x="293298" y="142363"/>
                    </a:cubicBezTo>
                    <a:lnTo>
                      <a:pt x="293298" y="142363"/>
                    </a:ln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0" name="Graphic 4">
                <a:extLst>
                  <a:ext uri="{FF2B5EF4-FFF2-40B4-BE49-F238E27FC236}">
                    <a16:creationId xmlns:a16="http://schemas.microsoft.com/office/drawing/2014/main" id="{5C281CD8-694C-B30F-0242-EBBC64F0B811}"/>
                  </a:ext>
                </a:extLst>
              </p:cNvPr>
              <p:cNvSpPr/>
              <p:nvPr/>
            </p:nvSpPr>
            <p:spPr>
              <a:xfrm>
                <a:off x="6218686" y="4973284"/>
                <a:ext cx="112462" cy="106612"/>
              </a:xfrm>
              <a:custGeom>
                <a:avLst/>
                <a:gdLst>
                  <a:gd name="connsiteX0" fmla="*/ 99044 w 112462"/>
                  <a:gd name="connsiteY0" fmla="*/ 40219 h 106612"/>
                  <a:gd name="connsiteX1" fmla="*/ 99044 w 112462"/>
                  <a:gd name="connsiteY1" fmla="*/ 40219 h 106612"/>
                  <a:gd name="connsiteX2" fmla="*/ 100322 w 112462"/>
                  <a:gd name="connsiteY2" fmla="*/ 26174 h 106612"/>
                  <a:gd name="connsiteX3" fmla="*/ 101600 w 112462"/>
                  <a:gd name="connsiteY3" fmla="*/ 21067 h 106612"/>
                  <a:gd name="connsiteX4" fmla="*/ 95849 w 112462"/>
                  <a:gd name="connsiteY4" fmla="*/ 21067 h 106612"/>
                  <a:gd name="connsiteX5" fmla="*/ 82430 w 112462"/>
                  <a:gd name="connsiteY5" fmla="*/ 17875 h 106612"/>
                  <a:gd name="connsiteX6" fmla="*/ 75401 w 112462"/>
                  <a:gd name="connsiteY6" fmla="*/ 5745 h 106612"/>
                  <a:gd name="connsiteX7" fmla="*/ 73484 w 112462"/>
                  <a:gd name="connsiteY7" fmla="*/ 638 h 106612"/>
                  <a:gd name="connsiteX8" fmla="*/ 69011 w 112462"/>
                  <a:gd name="connsiteY8" fmla="*/ 3830 h 106612"/>
                  <a:gd name="connsiteX9" fmla="*/ 56231 w 112462"/>
                  <a:gd name="connsiteY9" fmla="*/ 8937 h 106612"/>
                  <a:gd name="connsiteX10" fmla="*/ 44090 w 112462"/>
                  <a:gd name="connsiteY10" fmla="*/ 3192 h 106612"/>
                  <a:gd name="connsiteX11" fmla="*/ 38978 w 112462"/>
                  <a:gd name="connsiteY11" fmla="*/ 0 h 106612"/>
                  <a:gd name="connsiteX12" fmla="*/ 36423 w 112462"/>
                  <a:gd name="connsiteY12" fmla="*/ 5107 h 106612"/>
                  <a:gd name="connsiteX13" fmla="*/ 29394 w 112462"/>
                  <a:gd name="connsiteY13" fmla="*/ 16598 h 106612"/>
                  <a:gd name="connsiteX14" fmla="*/ 15975 w 112462"/>
                  <a:gd name="connsiteY14" fmla="*/ 19790 h 106612"/>
                  <a:gd name="connsiteX15" fmla="*/ 10863 w 112462"/>
                  <a:gd name="connsiteY15" fmla="*/ 19790 h 106612"/>
                  <a:gd name="connsiteX16" fmla="*/ 12141 w 112462"/>
                  <a:gd name="connsiteY16" fmla="*/ 24897 h 106612"/>
                  <a:gd name="connsiteX17" fmla="*/ 5112 w 112462"/>
                  <a:gd name="connsiteY17" fmla="*/ 47880 h 106612"/>
                  <a:gd name="connsiteX18" fmla="*/ 4473 w 112462"/>
                  <a:gd name="connsiteY18" fmla="*/ 48518 h 106612"/>
                  <a:gd name="connsiteX19" fmla="*/ 0 w 112462"/>
                  <a:gd name="connsiteY19" fmla="*/ 52348 h 106612"/>
                  <a:gd name="connsiteX20" fmla="*/ 3834 w 112462"/>
                  <a:gd name="connsiteY20" fmla="*/ 55540 h 106612"/>
                  <a:gd name="connsiteX21" fmla="*/ 11502 w 112462"/>
                  <a:gd name="connsiteY21" fmla="*/ 79161 h 106612"/>
                  <a:gd name="connsiteX22" fmla="*/ 11502 w 112462"/>
                  <a:gd name="connsiteY22" fmla="*/ 79800 h 106612"/>
                  <a:gd name="connsiteX23" fmla="*/ 10224 w 112462"/>
                  <a:gd name="connsiteY23" fmla="*/ 84907 h 106612"/>
                  <a:gd name="connsiteX24" fmla="*/ 15975 w 112462"/>
                  <a:gd name="connsiteY24" fmla="*/ 84907 h 106612"/>
                  <a:gd name="connsiteX25" fmla="*/ 29394 w 112462"/>
                  <a:gd name="connsiteY25" fmla="*/ 88099 h 106612"/>
                  <a:gd name="connsiteX26" fmla="*/ 36423 w 112462"/>
                  <a:gd name="connsiteY26" fmla="*/ 100228 h 106612"/>
                  <a:gd name="connsiteX27" fmla="*/ 38340 w 112462"/>
                  <a:gd name="connsiteY27" fmla="*/ 105336 h 106612"/>
                  <a:gd name="connsiteX28" fmla="*/ 42813 w 112462"/>
                  <a:gd name="connsiteY28" fmla="*/ 102782 h 106612"/>
                  <a:gd name="connsiteX29" fmla="*/ 55593 w 112462"/>
                  <a:gd name="connsiteY29" fmla="*/ 97675 h 106612"/>
                  <a:gd name="connsiteX30" fmla="*/ 55593 w 112462"/>
                  <a:gd name="connsiteY30" fmla="*/ 97675 h 106612"/>
                  <a:gd name="connsiteX31" fmla="*/ 67733 w 112462"/>
                  <a:gd name="connsiteY31" fmla="*/ 103420 h 106612"/>
                  <a:gd name="connsiteX32" fmla="*/ 72845 w 112462"/>
                  <a:gd name="connsiteY32" fmla="*/ 106612 h 106612"/>
                  <a:gd name="connsiteX33" fmla="*/ 75401 w 112462"/>
                  <a:gd name="connsiteY33" fmla="*/ 101505 h 106612"/>
                  <a:gd name="connsiteX34" fmla="*/ 82430 w 112462"/>
                  <a:gd name="connsiteY34" fmla="*/ 90014 h 106612"/>
                  <a:gd name="connsiteX35" fmla="*/ 95849 w 112462"/>
                  <a:gd name="connsiteY35" fmla="*/ 86822 h 106612"/>
                  <a:gd name="connsiteX36" fmla="*/ 101600 w 112462"/>
                  <a:gd name="connsiteY36" fmla="*/ 86822 h 106612"/>
                  <a:gd name="connsiteX37" fmla="*/ 100322 w 112462"/>
                  <a:gd name="connsiteY37" fmla="*/ 81715 h 106612"/>
                  <a:gd name="connsiteX38" fmla="*/ 99044 w 112462"/>
                  <a:gd name="connsiteY38" fmla="*/ 68308 h 106612"/>
                  <a:gd name="connsiteX39" fmla="*/ 107990 w 112462"/>
                  <a:gd name="connsiteY39" fmla="*/ 58094 h 106612"/>
                  <a:gd name="connsiteX40" fmla="*/ 112463 w 112462"/>
                  <a:gd name="connsiteY40" fmla="*/ 54902 h 106612"/>
                  <a:gd name="connsiteX41" fmla="*/ 108629 w 112462"/>
                  <a:gd name="connsiteY41" fmla="*/ 51710 h 106612"/>
                  <a:gd name="connsiteX42" fmla="*/ 99044 w 112462"/>
                  <a:gd name="connsiteY42" fmla="*/ 40219 h 106612"/>
                  <a:gd name="connsiteX43" fmla="*/ 63260 w 112462"/>
                  <a:gd name="connsiteY43" fmla="*/ 77884 h 106612"/>
                  <a:gd name="connsiteX44" fmla="*/ 31310 w 112462"/>
                  <a:gd name="connsiteY44" fmla="*/ 61286 h 106612"/>
                  <a:gd name="connsiteX45" fmla="*/ 47925 w 112462"/>
                  <a:gd name="connsiteY45" fmla="*/ 29366 h 106612"/>
                  <a:gd name="connsiteX46" fmla="*/ 79874 w 112462"/>
                  <a:gd name="connsiteY46" fmla="*/ 45964 h 106612"/>
                  <a:gd name="connsiteX47" fmla="*/ 79874 w 112462"/>
                  <a:gd name="connsiteY47" fmla="*/ 45964 h 106612"/>
                  <a:gd name="connsiteX48" fmla="*/ 63260 w 112462"/>
                  <a:gd name="connsiteY48" fmla="*/ 77884 h 106612"/>
                  <a:gd name="connsiteX49" fmla="*/ 63260 w 112462"/>
                  <a:gd name="connsiteY49" fmla="*/ 77884 h 10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2462" h="106612">
                    <a:moveTo>
                      <a:pt x="99044" y="40219"/>
                    </a:moveTo>
                    <a:lnTo>
                      <a:pt x="99044" y="40219"/>
                    </a:lnTo>
                    <a:cubicBezTo>
                      <a:pt x="98405" y="35750"/>
                      <a:pt x="98405" y="30643"/>
                      <a:pt x="100322" y="26174"/>
                    </a:cubicBezTo>
                    <a:cubicBezTo>
                      <a:pt x="100961" y="24259"/>
                      <a:pt x="101600" y="22344"/>
                      <a:pt x="101600" y="21067"/>
                    </a:cubicBezTo>
                    <a:cubicBezTo>
                      <a:pt x="100322" y="21067"/>
                      <a:pt x="97766" y="21067"/>
                      <a:pt x="95849" y="21067"/>
                    </a:cubicBezTo>
                    <a:cubicBezTo>
                      <a:pt x="91376" y="21067"/>
                      <a:pt x="86903" y="20428"/>
                      <a:pt x="82430" y="17875"/>
                    </a:cubicBezTo>
                    <a:cubicBezTo>
                      <a:pt x="79235" y="14683"/>
                      <a:pt x="76679" y="10852"/>
                      <a:pt x="75401" y="5745"/>
                    </a:cubicBezTo>
                    <a:cubicBezTo>
                      <a:pt x="74762" y="3830"/>
                      <a:pt x="74123" y="2553"/>
                      <a:pt x="73484" y="638"/>
                    </a:cubicBezTo>
                    <a:cubicBezTo>
                      <a:pt x="71567" y="1276"/>
                      <a:pt x="70289" y="2553"/>
                      <a:pt x="69011" y="3830"/>
                    </a:cubicBezTo>
                    <a:cubicBezTo>
                      <a:pt x="65177" y="7022"/>
                      <a:pt x="60704" y="8937"/>
                      <a:pt x="56231" y="8937"/>
                    </a:cubicBezTo>
                    <a:cubicBezTo>
                      <a:pt x="51758" y="8299"/>
                      <a:pt x="47285" y="6384"/>
                      <a:pt x="44090" y="3192"/>
                    </a:cubicBezTo>
                    <a:cubicBezTo>
                      <a:pt x="42813" y="1915"/>
                      <a:pt x="40895" y="638"/>
                      <a:pt x="38978" y="0"/>
                    </a:cubicBezTo>
                    <a:cubicBezTo>
                      <a:pt x="38340" y="1915"/>
                      <a:pt x="37062" y="3830"/>
                      <a:pt x="36423" y="5107"/>
                    </a:cubicBezTo>
                    <a:cubicBezTo>
                      <a:pt x="35145" y="9576"/>
                      <a:pt x="32589" y="13406"/>
                      <a:pt x="29394" y="16598"/>
                    </a:cubicBezTo>
                    <a:cubicBezTo>
                      <a:pt x="25560" y="19152"/>
                      <a:pt x="20448" y="19790"/>
                      <a:pt x="15975" y="19790"/>
                    </a:cubicBezTo>
                    <a:cubicBezTo>
                      <a:pt x="14058" y="19790"/>
                      <a:pt x="12141" y="19790"/>
                      <a:pt x="10863" y="19790"/>
                    </a:cubicBezTo>
                    <a:cubicBezTo>
                      <a:pt x="10863" y="21705"/>
                      <a:pt x="11502" y="23620"/>
                      <a:pt x="12141" y="24897"/>
                    </a:cubicBezTo>
                    <a:cubicBezTo>
                      <a:pt x="16614" y="33196"/>
                      <a:pt x="13419" y="43411"/>
                      <a:pt x="5112" y="47880"/>
                    </a:cubicBezTo>
                    <a:cubicBezTo>
                      <a:pt x="5112" y="47880"/>
                      <a:pt x="4473" y="47880"/>
                      <a:pt x="4473" y="48518"/>
                    </a:cubicBezTo>
                    <a:cubicBezTo>
                      <a:pt x="3195" y="49795"/>
                      <a:pt x="1278" y="51072"/>
                      <a:pt x="0" y="52348"/>
                    </a:cubicBezTo>
                    <a:cubicBezTo>
                      <a:pt x="1278" y="53625"/>
                      <a:pt x="2556" y="54902"/>
                      <a:pt x="3834" y="55540"/>
                    </a:cubicBezTo>
                    <a:cubicBezTo>
                      <a:pt x="12780" y="60009"/>
                      <a:pt x="15975" y="70862"/>
                      <a:pt x="11502" y="79161"/>
                    </a:cubicBezTo>
                    <a:cubicBezTo>
                      <a:pt x="11502" y="79161"/>
                      <a:pt x="11502" y="79161"/>
                      <a:pt x="11502" y="79800"/>
                    </a:cubicBezTo>
                    <a:cubicBezTo>
                      <a:pt x="10863" y="81715"/>
                      <a:pt x="10224" y="83630"/>
                      <a:pt x="10224" y="84907"/>
                    </a:cubicBezTo>
                    <a:lnTo>
                      <a:pt x="15975" y="84907"/>
                    </a:lnTo>
                    <a:cubicBezTo>
                      <a:pt x="20448" y="84907"/>
                      <a:pt x="24921" y="85545"/>
                      <a:pt x="29394" y="88099"/>
                    </a:cubicBezTo>
                    <a:cubicBezTo>
                      <a:pt x="32589" y="91291"/>
                      <a:pt x="35145" y="95121"/>
                      <a:pt x="36423" y="100228"/>
                    </a:cubicBezTo>
                    <a:cubicBezTo>
                      <a:pt x="37062" y="102144"/>
                      <a:pt x="37700" y="103420"/>
                      <a:pt x="38340" y="105336"/>
                    </a:cubicBezTo>
                    <a:cubicBezTo>
                      <a:pt x="40257" y="104697"/>
                      <a:pt x="41535" y="103420"/>
                      <a:pt x="42813" y="102782"/>
                    </a:cubicBezTo>
                    <a:cubicBezTo>
                      <a:pt x="46646" y="99590"/>
                      <a:pt x="51119" y="97675"/>
                      <a:pt x="55593" y="97675"/>
                    </a:cubicBezTo>
                    <a:lnTo>
                      <a:pt x="55593" y="97675"/>
                    </a:lnTo>
                    <a:cubicBezTo>
                      <a:pt x="60065" y="98313"/>
                      <a:pt x="64538" y="100228"/>
                      <a:pt x="67733" y="103420"/>
                    </a:cubicBezTo>
                    <a:cubicBezTo>
                      <a:pt x="69011" y="104697"/>
                      <a:pt x="70928" y="105974"/>
                      <a:pt x="72845" y="106612"/>
                    </a:cubicBezTo>
                    <a:cubicBezTo>
                      <a:pt x="73484" y="104697"/>
                      <a:pt x="74762" y="102782"/>
                      <a:pt x="75401" y="101505"/>
                    </a:cubicBezTo>
                    <a:cubicBezTo>
                      <a:pt x="76679" y="97036"/>
                      <a:pt x="79235" y="93206"/>
                      <a:pt x="82430" y="90014"/>
                    </a:cubicBezTo>
                    <a:cubicBezTo>
                      <a:pt x="86264" y="87460"/>
                      <a:pt x="91376" y="86822"/>
                      <a:pt x="95849" y="86822"/>
                    </a:cubicBezTo>
                    <a:cubicBezTo>
                      <a:pt x="97766" y="86822"/>
                      <a:pt x="99683" y="86822"/>
                      <a:pt x="101600" y="86822"/>
                    </a:cubicBezTo>
                    <a:cubicBezTo>
                      <a:pt x="101600" y="84907"/>
                      <a:pt x="100961" y="82992"/>
                      <a:pt x="100322" y="81715"/>
                    </a:cubicBezTo>
                    <a:cubicBezTo>
                      <a:pt x="98405" y="77246"/>
                      <a:pt x="98405" y="72777"/>
                      <a:pt x="99044" y="68308"/>
                    </a:cubicBezTo>
                    <a:cubicBezTo>
                      <a:pt x="100961" y="63840"/>
                      <a:pt x="104156" y="60648"/>
                      <a:pt x="107990" y="58094"/>
                    </a:cubicBezTo>
                    <a:cubicBezTo>
                      <a:pt x="109268" y="56817"/>
                      <a:pt x="111185" y="55540"/>
                      <a:pt x="112463" y="54902"/>
                    </a:cubicBezTo>
                    <a:cubicBezTo>
                      <a:pt x="111185" y="53625"/>
                      <a:pt x="109907" y="52348"/>
                      <a:pt x="108629" y="51710"/>
                    </a:cubicBezTo>
                    <a:cubicBezTo>
                      <a:pt x="104156" y="47880"/>
                      <a:pt x="100961" y="44688"/>
                      <a:pt x="99044" y="40219"/>
                    </a:cubicBezTo>
                    <a:close/>
                    <a:moveTo>
                      <a:pt x="63260" y="77884"/>
                    </a:moveTo>
                    <a:cubicBezTo>
                      <a:pt x="49841" y="82353"/>
                      <a:pt x="35145" y="74692"/>
                      <a:pt x="31310" y="61286"/>
                    </a:cubicBezTo>
                    <a:cubicBezTo>
                      <a:pt x="26838" y="47880"/>
                      <a:pt x="34505" y="33196"/>
                      <a:pt x="47925" y="29366"/>
                    </a:cubicBezTo>
                    <a:cubicBezTo>
                      <a:pt x="61343" y="25536"/>
                      <a:pt x="76040" y="32558"/>
                      <a:pt x="79874" y="45964"/>
                    </a:cubicBezTo>
                    <a:cubicBezTo>
                      <a:pt x="79874" y="45964"/>
                      <a:pt x="79874" y="45964"/>
                      <a:pt x="79874" y="45964"/>
                    </a:cubicBezTo>
                    <a:cubicBezTo>
                      <a:pt x="84347" y="59371"/>
                      <a:pt x="77318" y="73416"/>
                      <a:pt x="63260" y="77884"/>
                    </a:cubicBezTo>
                    <a:cubicBezTo>
                      <a:pt x="63899" y="77884"/>
                      <a:pt x="63899" y="77884"/>
                      <a:pt x="63260" y="77884"/>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1" name="Graphic 4">
                <a:extLst>
                  <a:ext uri="{FF2B5EF4-FFF2-40B4-BE49-F238E27FC236}">
                    <a16:creationId xmlns:a16="http://schemas.microsoft.com/office/drawing/2014/main" id="{2CED3FA3-2178-E6E2-217A-0E344BCCA813}"/>
                  </a:ext>
                </a:extLst>
              </p:cNvPr>
              <p:cNvSpPr/>
              <p:nvPr/>
            </p:nvSpPr>
            <p:spPr>
              <a:xfrm>
                <a:off x="6368153" y="4908806"/>
                <a:ext cx="26109" cy="26027"/>
              </a:xfrm>
              <a:custGeom>
                <a:avLst/>
                <a:gdLst>
                  <a:gd name="connsiteX0" fmla="*/ 18588 w 26109"/>
                  <a:gd name="connsiteY0" fmla="*/ 1277 h 26027"/>
                  <a:gd name="connsiteX1" fmla="*/ 12837 w 26109"/>
                  <a:gd name="connsiteY1" fmla="*/ 0 h 26027"/>
                  <a:gd name="connsiteX2" fmla="*/ 9004 w 26109"/>
                  <a:gd name="connsiteY2" fmla="*/ 639 h 26027"/>
                  <a:gd name="connsiteX3" fmla="*/ 1336 w 26109"/>
                  <a:gd name="connsiteY3" fmla="*/ 7023 h 26027"/>
                  <a:gd name="connsiteX4" fmla="*/ 697 w 26109"/>
                  <a:gd name="connsiteY4" fmla="*/ 16599 h 26027"/>
                  <a:gd name="connsiteX5" fmla="*/ 16672 w 26109"/>
                  <a:gd name="connsiteY5" fmla="*/ 25536 h 26027"/>
                  <a:gd name="connsiteX6" fmla="*/ 25617 w 26109"/>
                  <a:gd name="connsiteY6" fmla="*/ 9576 h 26027"/>
                  <a:gd name="connsiteX7" fmla="*/ 18588 w 26109"/>
                  <a:gd name="connsiteY7" fmla="*/ 1277 h 26027"/>
                  <a:gd name="connsiteX8" fmla="*/ 18588 w 26109"/>
                  <a:gd name="connsiteY8" fmla="*/ 1277 h 2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 h="26027">
                    <a:moveTo>
                      <a:pt x="18588" y="1277"/>
                    </a:moveTo>
                    <a:cubicBezTo>
                      <a:pt x="16672" y="639"/>
                      <a:pt x="14755" y="0"/>
                      <a:pt x="12837" y="0"/>
                    </a:cubicBezTo>
                    <a:cubicBezTo>
                      <a:pt x="11560" y="0"/>
                      <a:pt x="10282" y="0"/>
                      <a:pt x="9004" y="639"/>
                    </a:cubicBezTo>
                    <a:cubicBezTo>
                      <a:pt x="5809" y="1915"/>
                      <a:pt x="3252" y="3831"/>
                      <a:pt x="1336" y="7023"/>
                    </a:cubicBezTo>
                    <a:cubicBezTo>
                      <a:pt x="57" y="10215"/>
                      <a:pt x="-581" y="13407"/>
                      <a:pt x="697" y="16599"/>
                    </a:cubicBezTo>
                    <a:cubicBezTo>
                      <a:pt x="2614" y="23621"/>
                      <a:pt x="9642" y="27451"/>
                      <a:pt x="16672" y="25536"/>
                    </a:cubicBezTo>
                    <a:cubicBezTo>
                      <a:pt x="23700" y="23621"/>
                      <a:pt x="27535" y="16599"/>
                      <a:pt x="25617" y="9576"/>
                    </a:cubicBezTo>
                    <a:cubicBezTo>
                      <a:pt x="24340" y="5746"/>
                      <a:pt x="21783" y="2554"/>
                      <a:pt x="18588" y="1277"/>
                    </a:cubicBezTo>
                    <a:lnTo>
                      <a:pt x="18588" y="1277"/>
                    </a:ln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2" name="Graphic 4">
                <a:extLst>
                  <a:ext uri="{FF2B5EF4-FFF2-40B4-BE49-F238E27FC236}">
                    <a16:creationId xmlns:a16="http://schemas.microsoft.com/office/drawing/2014/main" id="{EB9F28E6-F655-2751-FD65-8984CEF56453}"/>
                  </a:ext>
                </a:extLst>
              </p:cNvPr>
              <p:cNvSpPr/>
              <p:nvPr/>
            </p:nvSpPr>
            <p:spPr>
              <a:xfrm>
                <a:off x="6262229" y="5014142"/>
                <a:ext cx="25377" cy="25445"/>
              </a:xfrm>
              <a:custGeom>
                <a:avLst/>
                <a:gdLst>
                  <a:gd name="connsiteX0" fmla="*/ 12689 w 25377"/>
                  <a:gd name="connsiteY0" fmla="*/ 0 h 25445"/>
                  <a:gd name="connsiteX1" fmla="*/ 8855 w 25377"/>
                  <a:gd name="connsiteY1" fmla="*/ 639 h 25445"/>
                  <a:gd name="connsiteX2" fmla="*/ 548 w 25377"/>
                  <a:gd name="connsiteY2" fmla="*/ 16599 h 25445"/>
                  <a:gd name="connsiteX3" fmla="*/ 16523 w 25377"/>
                  <a:gd name="connsiteY3" fmla="*/ 24898 h 25445"/>
                  <a:gd name="connsiteX4" fmla="*/ 24830 w 25377"/>
                  <a:gd name="connsiteY4" fmla="*/ 8938 h 25445"/>
                  <a:gd name="connsiteX5" fmla="*/ 12689 w 25377"/>
                  <a:gd name="connsiteY5" fmla="*/ 0 h 2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 h="25445">
                    <a:moveTo>
                      <a:pt x="12689" y="0"/>
                    </a:moveTo>
                    <a:cubicBezTo>
                      <a:pt x="11411" y="0"/>
                      <a:pt x="10133" y="0"/>
                      <a:pt x="8855" y="639"/>
                    </a:cubicBezTo>
                    <a:cubicBezTo>
                      <a:pt x="1826" y="2554"/>
                      <a:pt x="-1369" y="9576"/>
                      <a:pt x="548" y="16599"/>
                    </a:cubicBezTo>
                    <a:cubicBezTo>
                      <a:pt x="2465" y="23621"/>
                      <a:pt x="9494" y="26813"/>
                      <a:pt x="16523" y="24898"/>
                    </a:cubicBezTo>
                    <a:cubicBezTo>
                      <a:pt x="23552" y="22983"/>
                      <a:pt x="26747" y="15960"/>
                      <a:pt x="24830" y="8938"/>
                    </a:cubicBezTo>
                    <a:cubicBezTo>
                      <a:pt x="23552" y="3831"/>
                      <a:pt x="18440" y="0"/>
                      <a:pt x="12689" y="0"/>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3" name="Graphic 4">
                <a:extLst>
                  <a:ext uri="{FF2B5EF4-FFF2-40B4-BE49-F238E27FC236}">
                    <a16:creationId xmlns:a16="http://schemas.microsoft.com/office/drawing/2014/main" id="{E04AD7BF-B419-8E92-1416-E33DC6E60B7D}"/>
                  </a:ext>
                </a:extLst>
              </p:cNvPr>
              <p:cNvSpPr/>
              <p:nvPr/>
            </p:nvSpPr>
            <p:spPr>
              <a:xfrm>
                <a:off x="6324120" y="4866672"/>
                <a:ext cx="111823" cy="105335"/>
              </a:xfrm>
              <a:custGeom>
                <a:avLst/>
                <a:gdLst>
                  <a:gd name="connsiteX0" fmla="*/ 99683 w 111823"/>
                  <a:gd name="connsiteY0" fmla="*/ 40857 h 105335"/>
                  <a:gd name="connsiteX1" fmla="*/ 100961 w 111823"/>
                  <a:gd name="connsiteY1" fmla="*/ 26813 h 105335"/>
                  <a:gd name="connsiteX2" fmla="*/ 102239 w 111823"/>
                  <a:gd name="connsiteY2" fmla="*/ 21705 h 105335"/>
                  <a:gd name="connsiteX3" fmla="*/ 96488 w 111823"/>
                  <a:gd name="connsiteY3" fmla="*/ 21705 h 105335"/>
                  <a:gd name="connsiteX4" fmla="*/ 76679 w 111823"/>
                  <a:gd name="connsiteY4" fmla="*/ 7022 h 105335"/>
                  <a:gd name="connsiteX5" fmla="*/ 76679 w 111823"/>
                  <a:gd name="connsiteY5" fmla="*/ 6384 h 105335"/>
                  <a:gd name="connsiteX6" fmla="*/ 74762 w 111823"/>
                  <a:gd name="connsiteY6" fmla="*/ 1277 h 105335"/>
                  <a:gd name="connsiteX7" fmla="*/ 70289 w 111823"/>
                  <a:gd name="connsiteY7" fmla="*/ 3830 h 105335"/>
                  <a:gd name="connsiteX8" fmla="*/ 57509 w 111823"/>
                  <a:gd name="connsiteY8" fmla="*/ 8937 h 105335"/>
                  <a:gd name="connsiteX9" fmla="*/ 45368 w 111823"/>
                  <a:gd name="connsiteY9" fmla="*/ 3192 h 105335"/>
                  <a:gd name="connsiteX10" fmla="*/ 40257 w 111823"/>
                  <a:gd name="connsiteY10" fmla="*/ 0 h 105335"/>
                  <a:gd name="connsiteX11" fmla="*/ 37700 w 111823"/>
                  <a:gd name="connsiteY11" fmla="*/ 5107 h 105335"/>
                  <a:gd name="connsiteX12" fmla="*/ 30672 w 111823"/>
                  <a:gd name="connsiteY12" fmla="*/ 16598 h 105335"/>
                  <a:gd name="connsiteX13" fmla="*/ 17253 w 111823"/>
                  <a:gd name="connsiteY13" fmla="*/ 19790 h 105335"/>
                  <a:gd name="connsiteX14" fmla="*/ 11502 w 111823"/>
                  <a:gd name="connsiteY14" fmla="*/ 19790 h 105335"/>
                  <a:gd name="connsiteX15" fmla="*/ 12780 w 111823"/>
                  <a:gd name="connsiteY15" fmla="*/ 24897 h 105335"/>
                  <a:gd name="connsiteX16" fmla="*/ 5751 w 111823"/>
                  <a:gd name="connsiteY16" fmla="*/ 47880 h 105335"/>
                  <a:gd name="connsiteX17" fmla="*/ 4473 w 111823"/>
                  <a:gd name="connsiteY17" fmla="*/ 48518 h 105335"/>
                  <a:gd name="connsiteX18" fmla="*/ 0 w 111823"/>
                  <a:gd name="connsiteY18" fmla="*/ 52349 h 105335"/>
                  <a:gd name="connsiteX19" fmla="*/ 3834 w 111823"/>
                  <a:gd name="connsiteY19" fmla="*/ 55541 h 105335"/>
                  <a:gd name="connsiteX20" fmla="*/ 12141 w 111823"/>
                  <a:gd name="connsiteY20" fmla="*/ 79161 h 105335"/>
                  <a:gd name="connsiteX21" fmla="*/ 11502 w 111823"/>
                  <a:gd name="connsiteY21" fmla="*/ 79800 h 105335"/>
                  <a:gd name="connsiteX22" fmla="*/ 10224 w 111823"/>
                  <a:gd name="connsiteY22" fmla="*/ 84907 h 105335"/>
                  <a:gd name="connsiteX23" fmla="*/ 15975 w 111823"/>
                  <a:gd name="connsiteY23" fmla="*/ 84907 h 105335"/>
                  <a:gd name="connsiteX24" fmla="*/ 35783 w 111823"/>
                  <a:gd name="connsiteY24" fmla="*/ 98952 h 105335"/>
                  <a:gd name="connsiteX25" fmla="*/ 35783 w 111823"/>
                  <a:gd name="connsiteY25" fmla="*/ 99590 h 105335"/>
                  <a:gd name="connsiteX26" fmla="*/ 37700 w 111823"/>
                  <a:gd name="connsiteY26" fmla="*/ 104697 h 105335"/>
                  <a:gd name="connsiteX27" fmla="*/ 42173 w 111823"/>
                  <a:gd name="connsiteY27" fmla="*/ 101505 h 105335"/>
                  <a:gd name="connsiteX28" fmla="*/ 54953 w 111823"/>
                  <a:gd name="connsiteY28" fmla="*/ 96398 h 105335"/>
                  <a:gd name="connsiteX29" fmla="*/ 54953 w 111823"/>
                  <a:gd name="connsiteY29" fmla="*/ 96398 h 105335"/>
                  <a:gd name="connsiteX30" fmla="*/ 67094 w 111823"/>
                  <a:gd name="connsiteY30" fmla="*/ 102144 h 105335"/>
                  <a:gd name="connsiteX31" fmla="*/ 72206 w 111823"/>
                  <a:gd name="connsiteY31" fmla="*/ 105336 h 105335"/>
                  <a:gd name="connsiteX32" fmla="*/ 74762 w 111823"/>
                  <a:gd name="connsiteY32" fmla="*/ 100229 h 105335"/>
                  <a:gd name="connsiteX33" fmla="*/ 81791 w 111823"/>
                  <a:gd name="connsiteY33" fmla="*/ 88737 h 105335"/>
                  <a:gd name="connsiteX34" fmla="*/ 95210 w 111823"/>
                  <a:gd name="connsiteY34" fmla="*/ 85545 h 105335"/>
                  <a:gd name="connsiteX35" fmla="*/ 100961 w 111823"/>
                  <a:gd name="connsiteY35" fmla="*/ 85545 h 105335"/>
                  <a:gd name="connsiteX36" fmla="*/ 99683 w 111823"/>
                  <a:gd name="connsiteY36" fmla="*/ 80438 h 105335"/>
                  <a:gd name="connsiteX37" fmla="*/ 98405 w 111823"/>
                  <a:gd name="connsiteY37" fmla="*/ 67032 h 105335"/>
                  <a:gd name="connsiteX38" fmla="*/ 107351 w 111823"/>
                  <a:gd name="connsiteY38" fmla="*/ 56817 h 105335"/>
                  <a:gd name="connsiteX39" fmla="*/ 111824 w 111823"/>
                  <a:gd name="connsiteY39" fmla="*/ 52987 h 105335"/>
                  <a:gd name="connsiteX40" fmla="*/ 107990 w 111823"/>
                  <a:gd name="connsiteY40" fmla="*/ 49795 h 105335"/>
                  <a:gd name="connsiteX41" fmla="*/ 99683 w 111823"/>
                  <a:gd name="connsiteY41" fmla="*/ 40857 h 105335"/>
                  <a:gd name="connsiteX42" fmla="*/ 79235 w 111823"/>
                  <a:gd name="connsiteY42" fmla="*/ 65755 h 105335"/>
                  <a:gd name="connsiteX43" fmla="*/ 64538 w 111823"/>
                  <a:gd name="connsiteY43" fmla="*/ 78523 h 105335"/>
                  <a:gd name="connsiteX44" fmla="*/ 56870 w 111823"/>
                  <a:gd name="connsiteY44" fmla="*/ 79800 h 105335"/>
                  <a:gd name="connsiteX45" fmla="*/ 45368 w 111823"/>
                  <a:gd name="connsiteY45" fmla="*/ 76608 h 105335"/>
                  <a:gd name="connsiteX46" fmla="*/ 33867 w 111823"/>
                  <a:gd name="connsiteY46" fmla="*/ 42134 h 105335"/>
                  <a:gd name="connsiteX47" fmla="*/ 68372 w 111823"/>
                  <a:gd name="connsiteY47" fmla="*/ 30643 h 105335"/>
                  <a:gd name="connsiteX48" fmla="*/ 81152 w 111823"/>
                  <a:gd name="connsiteY48" fmla="*/ 45965 h 105335"/>
                  <a:gd name="connsiteX49" fmla="*/ 79235 w 111823"/>
                  <a:gd name="connsiteY49" fmla="*/ 65755 h 10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1823" h="105335">
                    <a:moveTo>
                      <a:pt x="99683" y="40857"/>
                    </a:moveTo>
                    <a:cubicBezTo>
                      <a:pt x="99044" y="36389"/>
                      <a:pt x="99044" y="31281"/>
                      <a:pt x="100961" y="26813"/>
                    </a:cubicBezTo>
                    <a:cubicBezTo>
                      <a:pt x="101600" y="24897"/>
                      <a:pt x="102239" y="22982"/>
                      <a:pt x="102239" y="21705"/>
                    </a:cubicBezTo>
                    <a:lnTo>
                      <a:pt x="96488" y="21705"/>
                    </a:lnTo>
                    <a:cubicBezTo>
                      <a:pt x="86903" y="22982"/>
                      <a:pt x="77957" y="16598"/>
                      <a:pt x="76679" y="7022"/>
                    </a:cubicBezTo>
                    <a:cubicBezTo>
                      <a:pt x="76679" y="7022"/>
                      <a:pt x="76679" y="6384"/>
                      <a:pt x="76679" y="6384"/>
                    </a:cubicBezTo>
                    <a:cubicBezTo>
                      <a:pt x="76040" y="4469"/>
                      <a:pt x="75401" y="3192"/>
                      <a:pt x="74762" y="1277"/>
                    </a:cubicBezTo>
                    <a:cubicBezTo>
                      <a:pt x="72845" y="1915"/>
                      <a:pt x="71567" y="3192"/>
                      <a:pt x="70289" y="3830"/>
                    </a:cubicBezTo>
                    <a:cubicBezTo>
                      <a:pt x="66455" y="7022"/>
                      <a:pt x="61982" y="8299"/>
                      <a:pt x="57509" y="8937"/>
                    </a:cubicBezTo>
                    <a:cubicBezTo>
                      <a:pt x="53036" y="8299"/>
                      <a:pt x="48563" y="6384"/>
                      <a:pt x="45368" y="3192"/>
                    </a:cubicBezTo>
                    <a:cubicBezTo>
                      <a:pt x="44090" y="1915"/>
                      <a:pt x="42173" y="1277"/>
                      <a:pt x="40257" y="0"/>
                    </a:cubicBezTo>
                    <a:cubicBezTo>
                      <a:pt x="39618" y="1915"/>
                      <a:pt x="38340" y="3192"/>
                      <a:pt x="37700" y="5107"/>
                    </a:cubicBezTo>
                    <a:cubicBezTo>
                      <a:pt x="36423" y="9576"/>
                      <a:pt x="33867" y="13406"/>
                      <a:pt x="30672" y="16598"/>
                    </a:cubicBezTo>
                    <a:cubicBezTo>
                      <a:pt x="26838" y="19152"/>
                      <a:pt x="21726" y="19790"/>
                      <a:pt x="17253" y="19790"/>
                    </a:cubicBezTo>
                    <a:cubicBezTo>
                      <a:pt x="15336" y="19790"/>
                      <a:pt x="13419" y="19790"/>
                      <a:pt x="11502" y="19790"/>
                    </a:cubicBezTo>
                    <a:cubicBezTo>
                      <a:pt x="11502" y="21705"/>
                      <a:pt x="12141" y="23621"/>
                      <a:pt x="12780" y="24897"/>
                    </a:cubicBezTo>
                    <a:cubicBezTo>
                      <a:pt x="17253" y="33197"/>
                      <a:pt x="14058" y="43411"/>
                      <a:pt x="5751" y="47880"/>
                    </a:cubicBezTo>
                    <a:cubicBezTo>
                      <a:pt x="5112" y="47880"/>
                      <a:pt x="5112" y="48518"/>
                      <a:pt x="4473" y="48518"/>
                    </a:cubicBezTo>
                    <a:cubicBezTo>
                      <a:pt x="3195" y="49795"/>
                      <a:pt x="1278" y="51072"/>
                      <a:pt x="0" y="52349"/>
                    </a:cubicBezTo>
                    <a:cubicBezTo>
                      <a:pt x="1278" y="53625"/>
                      <a:pt x="2556" y="54902"/>
                      <a:pt x="3834" y="55541"/>
                    </a:cubicBezTo>
                    <a:cubicBezTo>
                      <a:pt x="12780" y="60009"/>
                      <a:pt x="15975" y="70224"/>
                      <a:pt x="12141" y="79161"/>
                    </a:cubicBezTo>
                    <a:cubicBezTo>
                      <a:pt x="12141" y="79161"/>
                      <a:pt x="12141" y="79800"/>
                      <a:pt x="11502" y="79800"/>
                    </a:cubicBezTo>
                    <a:cubicBezTo>
                      <a:pt x="10863" y="81715"/>
                      <a:pt x="10224" y="83630"/>
                      <a:pt x="10224" y="84907"/>
                    </a:cubicBezTo>
                    <a:cubicBezTo>
                      <a:pt x="11502" y="84907"/>
                      <a:pt x="14058" y="84907"/>
                      <a:pt x="15975" y="84907"/>
                    </a:cubicBezTo>
                    <a:cubicBezTo>
                      <a:pt x="25560" y="83630"/>
                      <a:pt x="34505" y="89376"/>
                      <a:pt x="35783" y="98952"/>
                    </a:cubicBezTo>
                    <a:cubicBezTo>
                      <a:pt x="35783" y="98952"/>
                      <a:pt x="35783" y="99590"/>
                      <a:pt x="35783" y="99590"/>
                    </a:cubicBezTo>
                    <a:cubicBezTo>
                      <a:pt x="36423" y="101505"/>
                      <a:pt x="37062" y="102782"/>
                      <a:pt x="37700" y="104697"/>
                    </a:cubicBezTo>
                    <a:cubicBezTo>
                      <a:pt x="39618" y="104059"/>
                      <a:pt x="40895" y="102782"/>
                      <a:pt x="42173" y="101505"/>
                    </a:cubicBezTo>
                    <a:cubicBezTo>
                      <a:pt x="46008" y="98313"/>
                      <a:pt x="50480" y="97037"/>
                      <a:pt x="54953" y="96398"/>
                    </a:cubicBezTo>
                    <a:lnTo>
                      <a:pt x="54953" y="96398"/>
                    </a:lnTo>
                    <a:cubicBezTo>
                      <a:pt x="59426" y="97037"/>
                      <a:pt x="63899" y="98952"/>
                      <a:pt x="67094" y="102144"/>
                    </a:cubicBezTo>
                    <a:cubicBezTo>
                      <a:pt x="68372" y="103421"/>
                      <a:pt x="70289" y="104697"/>
                      <a:pt x="72206" y="105336"/>
                    </a:cubicBezTo>
                    <a:cubicBezTo>
                      <a:pt x="72845" y="103421"/>
                      <a:pt x="74123" y="101505"/>
                      <a:pt x="74762" y="100229"/>
                    </a:cubicBezTo>
                    <a:cubicBezTo>
                      <a:pt x="76040" y="95760"/>
                      <a:pt x="77957" y="91929"/>
                      <a:pt x="81791" y="88737"/>
                    </a:cubicBezTo>
                    <a:cubicBezTo>
                      <a:pt x="85625" y="86184"/>
                      <a:pt x="90737" y="85545"/>
                      <a:pt x="95210" y="85545"/>
                    </a:cubicBezTo>
                    <a:cubicBezTo>
                      <a:pt x="97127" y="85545"/>
                      <a:pt x="99044" y="85545"/>
                      <a:pt x="100961" y="85545"/>
                    </a:cubicBezTo>
                    <a:cubicBezTo>
                      <a:pt x="100961" y="83630"/>
                      <a:pt x="100322" y="81715"/>
                      <a:pt x="99683" y="80438"/>
                    </a:cubicBezTo>
                    <a:cubicBezTo>
                      <a:pt x="97766" y="75969"/>
                      <a:pt x="97766" y="71501"/>
                      <a:pt x="98405" y="67032"/>
                    </a:cubicBezTo>
                    <a:cubicBezTo>
                      <a:pt x="100322" y="62563"/>
                      <a:pt x="103517" y="59371"/>
                      <a:pt x="107351" y="56817"/>
                    </a:cubicBezTo>
                    <a:cubicBezTo>
                      <a:pt x="108629" y="55541"/>
                      <a:pt x="110546" y="54264"/>
                      <a:pt x="111824" y="52987"/>
                    </a:cubicBezTo>
                    <a:cubicBezTo>
                      <a:pt x="110546" y="51710"/>
                      <a:pt x="109268" y="50433"/>
                      <a:pt x="107990" y="49795"/>
                    </a:cubicBezTo>
                    <a:cubicBezTo>
                      <a:pt x="104795" y="49157"/>
                      <a:pt x="101600" y="45326"/>
                      <a:pt x="99683" y="40857"/>
                    </a:cubicBezTo>
                    <a:close/>
                    <a:moveTo>
                      <a:pt x="79235" y="65755"/>
                    </a:moveTo>
                    <a:cubicBezTo>
                      <a:pt x="76040" y="72139"/>
                      <a:pt x="70928" y="76608"/>
                      <a:pt x="64538" y="78523"/>
                    </a:cubicBezTo>
                    <a:cubicBezTo>
                      <a:pt x="61982" y="79161"/>
                      <a:pt x="59426" y="79800"/>
                      <a:pt x="56870" y="79800"/>
                    </a:cubicBezTo>
                    <a:cubicBezTo>
                      <a:pt x="53036" y="79800"/>
                      <a:pt x="48563" y="78523"/>
                      <a:pt x="45368" y="76608"/>
                    </a:cubicBezTo>
                    <a:cubicBezTo>
                      <a:pt x="32589" y="70224"/>
                      <a:pt x="27477" y="54902"/>
                      <a:pt x="33867" y="42134"/>
                    </a:cubicBezTo>
                    <a:cubicBezTo>
                      <a:pt x="40257" y="29366"/>
                      <a:pt x="55593" y="24259"/>
                      <a:pt x="68372" y="30643"/>
                    </a:cubicBezTo>
                    <a:cubicBezTo>
                      <a:pt x="74762" y="33835"/>
                      <a:pt x="79235" y="39581"/>
                      <a:pt x="81152" y="45965"/>
                    </a:cubicBezTo>
                    <a:cubicBezTo>
                      <a:pt x="83069" y="53625"/>
                      <a:pt x="82430" y="60009"/>
                      <a:pt x="79235" y="65755"/>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grpSp>
        <p:sp>
          <p:nvSpPr>
            <p:cNvPr id="14" name="TextBox 13">
              <a:extLst>
                <a:ext uri="{FF2B5EF4-FFF2-40B4-BE49-F238E27FC236}">
                  <a16:creationId xmlns:a16="http://schemas.microsoft.com/office/drawing/2014/main" id="{ADDEF8AD-33F9-9F1D-2403-A2763B852694}"/>
                </a:ext>
              </a:extLst>
            </p:cNvPr>
            <p:cNvSpPr txBox="1">
              <a:spLocks/>
            </p:cNvSpPr>
            <p:nvPr/>
          </p:nvSpPr>
          <p:spPr>
            <a:xfrm>
              <a:off x="7305262" y="1838248"/>
              <a:ext cx="4214190" cy="938719"/>
            </a:xfrm>
            <a:prstGeom prst="rect">
              <a:avLst/>
            </a:prstGeom>
            <a:noFill/>
          </p:spPr>
          <p:txBody>
            <a:bodyPr wrap="square" lIns="0" tIns="0" rIns="0" bIns="0" rtlCol="0">
              <a:spAutoFit/>
            </a:bodyPr>
            <a:lstStyle/>
            <a:p>
              <a:pPr>
                <a:spcBef>
                  <a:spcPts val="600"/>
                </a:spcBef>
                <a:buSzPct val="100000"/>
              </a:pPr>
              <a:r>
                <a:rPr lang="de-AT" sz="1400" b="1">
                  <a:latin typeface="Aptos" panose="020B0004020202020204" pitchFamily="34" charset="0"/>
                </a:rPr>
                <a:t>IT &amp; OT wachsen zusammen</a:t>
              </a:r>
            </a:p>
            <a:p>
              <a:pPr>
                <a:spcBef>
                  <a:spcPts val="600"/>
                </a:spcBef>
                <a:buSzPct val="100000"/>
              </a:pPr>
              <a:r>
                <a:rPr lang="de-AT" sz="1400">
                  <a:solidFill>
                    <a:srgbClr val="313131"/>
                  </a:solidFill>
                  <a:latin typeface="Aptos" panose="020B0004020202020204" pitchFamily="34" charset="0"/>
                </a:rPr>
                <a:t>Die Grenzen zwischen Informations- und Produktionstechnologie verschwimmen zunehmend – Systeme sind enger vernetzt als je zuvor</a:t>
              </a:r>
            </a:p>
          </p:txBody>
        </p:sp>
        <p:sp>
          <p:nvSpPr>
            <p:cNvPr id="15" name="TextBox 14">
              <a:extLst>
                <a:ext uri="{FF2B5EF4-FFF2-40B4-BE49-F238E27FC236}">
                  <a16:creationId xmlns:a16="http://schemas.microsoft.com/office/drawing/2014/main" id="{C80268E7-384F-A62C-C874-29B056CFACEF}"/>
                </a:ext>
              </a:extLst>
            </p:cNvPr>
            <p:cNvSpPr txBox="1">
              <a:spLocks/>
            </p:cNvSpPr>
            <p:nvPr/>
          </p:nvSpPr>
          <p:spPr>
            <a:xfrm>
              <a:off x="7305262" y="3136967"/>
              <a:ext cx="4214190" cy="938719"/>
            </a:xfrm>
            <a:prstGeom prst="rect">
              <a:avLst/>
            </a:prstGeom>
            <a:noFill/>
          </p:spPr>
          <p:txBody>
            <a:bodyPr wrap="square" lIns="0" tIns="0" rIns="0" bIns="0" rtlCol="0">
              <a:spAutoFit/>
            </a:bodyPr>
            <a:lstStyle/>
            <a:p>
              <a:pPr>
                <a:spcBef>
                  <a:spcPts val="600"/>
                </a:spcBef>
                <a:buSzPct val="100000"/>
              </a:pPr>
              <a:r>
                <a:rPr lang="de-AT" sz="1400" b="1">
                  <a:latin typeface="Aptos" panose="020B0004020202020204" pitchFamily="34" charset="0"/>
                </a:rPr>
                <a:t>Cyber-Bedrohungen nehmen rasant zu</a:t>
              </a:r>
            </a:p>
            <a:p>
              <a:pPr>
                <a:spcBef>
                  <a:spcPts val="600"/>
                </a:spcBef>
                <a:buSzPct val="100000"/>
              </a:pPr>
              <a:r>
                <a:rPr lang="de-AT" sz="1400">
                  <a:solidFill>
                    <a:srgbClr val="313131"/>
                  </a:solidFill>
                  <a:latin typeface="Aptos" panose="020B0004020202020204" pitchFamily="34" charset="0"/>
                </a:rPr>
                <a:t>Globale Vernetzung und alte Systemlandschaften eröffnen neue Angriffsflächen, die gezielt ausgenutzt werden</a:t>
              </a:r>
            </a:p>
          </p:txBody>
        </p:sp>
        <p:sp>
          <p:nvSpPr>
            <p:cNvPr id="16" name="TextBox 15">
              <a:extLst>
                <a:ext uri="{FF2B5EF4-FFF2-40B4-BE49-F238E27FC236}">
                  <a16:creationId xmlns:a16="http://schemas.microsoft.com/office/drawing/2014/main" id="{CDA25DC0-BC05-5C1C-01B6-BB18ED43A059}"/>
                </a:ext>
              </a:extLst>
            </p:cNvPr>
            <p:cNvSpPr txBox="1">
              <a:spLocks/>
            </p:cNvSpPr>
            <p:nvPr/>
          </p:nvSpPr>
          <p:spPr>
            <a:xfrm>
              <a:off x="7305262" y="4435686"/>
              <a:ext cx="4214190" cy="938719"/>
            </a:xfrm>
            <a:prstGeom prst="rect">
              <a:avLst/>
            </a:prstGeom>
            <a:noFill/>
          </p:spPr>
          <p:txBody>
            <a:bodyPr wrap="square" lIns="0" tIns="0" rIns="0" bIns="0" rtlCol="0">
              <a:spAutoFit/>
            </a:bodyPr>
            <a:lstStyle/>
            <a:p>
              <a:pPr>
                <a:spcBef>
                  <a:spcPts val="600"/>
                </a:spcBef>
                <a:buSzPct val="100000"/>
              </a:pPr>
              <a:r>
                <a:rPr lang="de-AT" sz="1400" b="1" dirty="0">
                  <a:latin typeface="Aptos" panose="020B0004020202020204" pitchFamily="34" charset="0"/>
                </a:rPr>
                <a:t>Mensch &amp; Kultur entscheiden über Erfolg</a:t>
              </a:r>
            </a:p>
            <a:p>
              <a:pPr>
                <a:spcBef>
                  <a:spcPts val="600"/>
                </a:spcBef>
                <a:buSzPct val="100000"/>
              </a:pPr>
              <a:r>
                <a:rPr lang="de-AT" sz="1400" dirty="0">
                  <a:solidFill>
                    <a:srgbClr val="313131"/>
                  </a:solidFill>
                  <a:latin typeface="Aptos" panose="020B0004020202020204" pitchFamily="34" charset="0"/>
                </a:rPr>
                <a:t>Technik allein reicht nicht – Vertrauen, Zusammenarbeit und kulturelle Sensibilität sind entscheidend für nachhaltige Security</a:t>
              </a:r>
            </a:p>
          </p:txBody>
        </p:sp>
      </p:grpSp>
    </p:spTree>
    <p:extLst>
      <p:ext uri="{BB962C8B-B14F-4D97-AF65-F5344CB8AC3E}">
        <p14:creationId xmlns:p14="http://schemas.microsoft.com/office/powerpoint/2010/main" val="1293827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think-cell data - do not delete" hidden="1">
            <a:extLst>
              <a:ext uri="{FF2B5EF4-FFF2-40B4-BE49-F238E27FC236}">
                <a16:creationId xmlns:a16="http://schemas.microsoft.com/office/drawing/2014/main" id="{46423C75-64DA-1B3C-9E55-C051AA816F2D}"/>
              </a:ext>
            </a:extLst>
          </p:cNvPr>
          <p:cNvGraphicFramePr>
            <a:graphicFrameLocks noChangeAspect="1"/>
          </p:cNvGraphicFramePr>
          <p:nvPr>
            <p:custDataLst>
              <p:tags r:id="rId1"/>
            </p:custDataLst>
            <p:extLst>
              <p:ext uri="{D42A27DB-BD31-4B8C-83A1-F6EECF244321}">
                <p14:modId xmlns:p14="http://schemas.microsoft.com/office/powerpoint/2010/main" val="3572511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54" name="think-cell data - do not delete" hidden="1">
                        <a:extLst>
                          <a:ext uri="{FF2B5EF4-FFF2-40B4-BE49-F238E27FC236}">
                            <a16:creationId xmlns:a16="http://schemas.microsoft.com/office/drawing/2014/main" id="{46423C75-64DA-1B3C-9E55-C051AA816F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5CBB231-A8EA-4EEF-3682-A7073BFF76FB}"/>
              </a:ext>
            </a:extLst>
          </p:cNvPr>
          <p:cNvSpPr>
            <a:spLocks noGrp="1"/>
          </p:cNvSpPr>
          <p:nvPr>
            <p:ph type="body" sz="quarter" idx="13"/>
          </p:nvPr>
        </p:nvSpPr>
        <p:spPr/>
        <p:txBody>
          <a:bodyPr/>
          <a:lstStyle/>
          <a:p>
            <a:r>
              <a:rPr lang="de-AT" noProof="0" dirty="0">
                <a:solidFill>
                  <a:schemeClr val="tx2">
                    <a:lumMod val="50000"/>
                  </a:schemeClr>
                </a:solidFill>
              </a:rPr>
              <a:t>Von OT betroffene Branchen &amp; </a:t>
            </a:r>
            <a:r>
              <a:rPr lang="de-AT" noProof="0" dirty="0" err="1">
                <a:solidFill>
                  <a:schemeClr val="tx2">
                    <a:lumMod val="50000"/>
                  </a:schemeClr>
                </a:solidFill>
              </a:rPr>
              <a:t>Incidents</a:t>
            </a:r>
            <a:endParaRPr lang="de-AT" noProof="0" dirty="0">
              <a:solidFill>
                <a:schemeClr val="tx2">
                  <a:lumMod val="50000"/>
                </a:schemeClr>
              </a:solidFill>
            </a:endParaRPr>
          </a:p>
        </p:txBody>
      </p:sp>
      <p:sp>
        <p:nvSpPr>
          <p:cNvPr id="32" name="Title 31">
            <a:extLst>
              <a:ext uri="{FF2B5EF4-FFF2-40B4-BE49-F238E27FC236}">
                <a16:creationId xmlns:a16="http://schemas.microsoft.com/office/drawing/2014/main" id="{7843B38A-8FA3-12D1-8710-8307FEFAA2ED}"/>
              </a:ext>
            </a:extLst>
          </p:cNvPr>
          <p:cNvSpPr>
            <a:spLocks noGrp="1"/>
          </p:cNvSpPr>
          <p:nvPr>
            <p:ph type="title"/>
          </p:nvPr>
        </p:nvSpPr>
        <p:spPr/>
        <p:txBody>
          <a:bodyPr vert="horz"/>
          <a:lstStyle/>
          <a:p>
            <a:r>
              <a:rPr lang="de-AT" noProof="0" dirty="0"/>
              <a:t>Was ist OT?</a:t>
            </a:r>
          </a:p>
        </p:txBody>
      </p:sp>
      <p:sp>
        <p:nvSpPr>
          <p:cNvPr id="5" name="TextBox 4">
            <a:extLst>
              <a:ext uri="{FF2B5EF4-FFF2-40B4-BE49-F238E27FC236}">
                <a16:creationId xmlns:a16="http://schemas.microsoft.com/office/drawing/2014/main" id="{75D83883-20B5-EA27-032B-22572DAE7CD9}"/>
              </a:ext>
            </a:extLst>
          </p:cNvPr>
          <p:cNvSpPr txBox="1"/>
          <p:nvPr/>
        </p:nvSpPr>
        <p:spPr>
          <a:xfrm>
            <a:off x="492679" y="4628778"/>
            <a:ext cx="528076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AT" sz="1200" b="1" i="0" u="none" strike="noStrike" kern="1200" cap="none" spc="0" normalizeH="0" baseline="0" noProof="0" dirty="0" err="1">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Incidents</a:t>
            </a:r>
            <a:r>
              <a:rPr kumimoji="0" lang="de-AT" sz="12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 in der OT-Security – jedes OT-System ist gefährdet</a:t>
            </a:r>
          </a:p>
        </p:txBody>
      </p:sp>
      <p:sp>
        <p:nvSpPr>
          <p:cNvPr id="12" name="TextBox 11">
            <a:extLst>
              <a:ext uri="{FF2B5EF4-FFF2-40B4-BE49-F238E27FC236}">
                <a16:creationId xmlns:a16="http://schemas.microsoft.com/office/drawing/2014/main" id="{E8363726-EBE7-9FB4-EE08-0A5359D82696}"/>
              </a:ext>
            </a:extLst>
          </p:cNvPr>
          <p:cNvSpPr txBox="1">
            <a:spLocks/>
          </p:cNvSpPr>
          <p:nvPr/>
        </p:nvSpPr>
        <p:spPr>
          <a:xfrm>
            <a:off x="1818411" y="4927726"/>
            <a:ext cx="2033825"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AT" sz="1200" b="1" i="0" u="none" strike="noStrike" kern="1200" cap="none" spc="0" normalizeH="0" baseline="0" noProof="0" dirty="0">
                <a:ln>
                  <a:noFill/>
                </a:ln>
                <a:solidFill>
                  <a:schemeClr val="accent1"/>
                </a:solidFill>
                <a:effectLst/>
                <a:uLnTx/>
                <a:uFillTx/>
                <a:latin typeface="Aptos" panose="020B0004020202020204" pitchFamily="34" charset="0"/>
                <a:ea typeface="Open Sans" panose="020B0606030504020204" pitchFamily="34" charset="0"/>
                <a:cs typeface="Open Sans" panose="020B0606030504020204" pitchFamily="34" charset="0"/>
              </a:rPr>
              <a:t>Meeres-Hack (2020)</a:t>
            </a:r>
          </a:p>
        </p:txBody>
      </p:sp>
      <p:sp>
        <p:nvSpPr>
          <p:cNvPr id="15" name="TextBox 14">
            <a:extLst>
              <a:ext uri="{FF2B5EF4-FFF2-40B4-BE49-F238E27FC236}">
                <a16:creationId xmlns:a16="http://schemas.microsoft.com/office/drawing/2014/main" id="{4CC53CB0-683C-8624-BA97-13D11F93104D}"/>
              </a:ext>
            </a:extLst>
          </p:cNvPr>
          <p:cNvSpPr txBox="1">
            <a:spLocks/>
          </p:cNvSpPr>
          <p:nvPr/>
        </p:nvSpPr>
        <p:spPr>
          <a:xfrm>
            <a:off x="1731769" y="5240206"/>
            <a:ext cx="2207110" cy="86177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noProof="0" dirty="0">
                <a:ln>
                  <a:noFill/>
                </a:ln>
                <a:solidFill>
                  <a:srgbClr val="000000"/>
                </a:solidFill>
                <a:effectLst/>
                <a:uLnTx/>
                <a:uFillTx/>
                <a:latin typeface="Aptos" panose="020B0004020202020204" pitchFamily="34" charset="0"/>
              </a:rPr>
              <a:t>Ein Containerschiff verlor aufgrund eines Cyberangriffs die Navigationskontrolle, was zu Betriebsstörungen und zum Verlust der Navigationsfähigkeit führte.</a:t>
            </a:r>
          </a:p>
        </p:txBody>
      </p:sp>
      <p:sp>
        <p:nvSpPr>
          <p:cNvPr id="17" name="TextBox 16">
            <a:extLst>
              <a:ext uri="{FF2B5EF4-FFF2-40B4-BE49-F238E27FC236}">
                <a16:creationId xmlns:a16="http://schemas.microsoft.com/office/drawing/2014/main" id="{0AFEEDCC-B482-1791-B8A4-D3EAE9C6FD19}"/>
              </a:ext>
            </a:extLst>
          </p:cNvPr>
          <p:cNvSpPr txBox="1">
            <a:spLocks/>
          </p:cNvSpPr>
          <p:nvPr/>
        </p:nvSpPr>
        <p:spPr>
          <a:xfrm>
            <a:off x="5684098" y="4927727"/>
            <a:ext cx="224557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AT" sz="1200" b="1" i="0" u="none" strike="noStrike" kern="1200" cap="none" spc="0" normalizeH="0" baseline="0" noProof="0" dirty="0">
                <a:ln>
                  <a:noFill/>
                </a:ln>
                <a:solidFill>
                  <a:schemeClr val="accent1"/>
                </a:solidFill>
                <a:effectLst/>
                <a:uLnTx/>
                <a:uFillTx/>
                <a:latin typeface="Aptos" panose="020B0004020202020204" pitchFamily="34" charset="0"/>
                <a:ea typeface="Open Sans" panose="020B0606030504020204" pitchFamily="34" charset="0"/>
                <a:cs typeface="Open Sans" panose="020B0606030504020204" pitchFamily="34" charset="0"/>
              </a:rPr>
              <a:t>Stromnetz der Ukraine (2022)</a:t>
            </a:r>
          </a:p>
        </p:txBody>
      </p:sp>
      <p:sp>
        <p:nvSpPr>
          <p:cNvPr id="19" name="TextBox 18">
            <a:extLst>
              <a:ext uri="{FF2B5EF4-FFF2-40B4-BE49-F238E27FC236}">
                <a16:creationId xmlns:a16="http://schemas.microsoft.com/office/drawing/2014/main" id="{FA6D7D33-5107-38C4-BE80-C7A50E407205}"/>
              </a:ext>
            </a:extLst>
          </p:cNvPr>
          <p:cNvSpPr txBox="1">
            <a:spLocks/>
          </p:cNvSpPr>
          <p:nvPr/>
        </p:nvSpPr>
        <p:spPr>
          <a:xfrm>
            <a:off x="5722561" y="5240206"/>
            <a:ext cx="2207110" cy="86177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de-AT" sz="1000" kern="1200" noProof="0" dirty="0">
                <a:solidFill>
                  <a:srgbClr val="000000"/>
                </a:solidFill>
                <a:latin typeface="Aptos" panose="020B0004020202020204" pitchFamily="34" charset="0"/>
              </a:rPr>
              <a:t>Russische Cyberspione haben einen Teil der Stromversorgung der Ukraine lahmgelegt, wodurch vier Regionen der Ukraine vorübergehend ohne Strom waren.</a:t>
            </a:r>
            <a:endParaRPr kumimoji="0" lang="de-AT" sz="1000" b="0" i="0" u="none" strike="noStrike" kern="1200" cap="none" spc="0" normalizeH="0" baseline="0" noProof="0" dirty="0">
              <a:ln>
                <a:noFill/>
              </a:ln>
              <a:solidFill>
                <a:srgbClr val="000000"/>
              </a:solidFill>
              <a:effectLst/>
              <a:uLnTx/>
              <a:uFillTx/>
              <a:latin typeface="Aptos" panose="020B0004020202020204" pitchFamily="34" charset="0"/>
            </a:endParaRPr>
          </a:p>
        </p:txBody>
      </p:sp>
      <p:sp>
        <p:nvSpPr>
          <p:cNvPr id="22" name="TextBox 21">
            <a:extLst>
              <a:ext uri="{FF2B5EF4-FFF2-40B4-BE49-F238E27FC236}">
                <a16:creationId xmlns:a16="http://schemas.microsoft.com/office/drawing/2014/main" id="{281506BC-8F1F-AB76-16A0-4061000A93D3}"/>
              </a:ext>
            </a:extLst>
          </p:cNvPr>
          <p:cNvSpPr txBox="1">
            <a:spLocks/>
          </p:cNvSpPr>
          <p:nvPr/>
        </p:nvSpPr>
        <p:spPr>
          <a:xfrm>
            <a:off x="9436528" y="4927727"/>
            <a:ext cx="248149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AT" sz="1200" b="1" kern="1200" noProof="0" dirty="0">
                <a:solidFill>
                  <a:schemeClr val="accent1"/>
                </a:solidFill>
                <a:latin typeface="Aptos" panose="020B0004020202020204" pitchFamily="34" charset="0"/>
                <a:ea typeface="Open Sans" panose="020B0606030504020204" pitchFamily="34" charset="0"/>
                <a:cs typeface="Open Sans" panose="020B0606030504020204" pitchFamily="34" charset="0"/>
              </a:rPr>
              <a:t>Deutsches Krankenhaus </a:t>
            </a:r>
            <a:r>
              <a:rPr kumimoji="0" lang="de-AT" sz="1200" b="1" i="0" u="none" strike="noStrike" kern="1200" cap="none" spc="0" normalizeH="0" baseline="0" noProof="0" dirty="0">
                <a:ln>
                  <a:noFill/>
                </a:ln>
                <a:solidFill>
                  <a:schemeClr val="accent1"/>
                </a:solidFill>
                <a:effectLst/>
                <a:uLnTx/>
                <a:uFillTx/>
                <a:latin typeface="Aptos" panose="020B0004020202020204" pitchFamily="34" charset="0"/>
                <a:ea typeface="Open Sans" panose="020B0606030504020204" pitchFamily="34" charset="0"/>
                <a:cs typeface="Open Sans" panose="020B0606030504020204" pitchFamily="34" charset="0"/>
              </a:rPr>
              <a:t>(2023)</a:t>
            </a:r>
          </a:p>
        </p:txBody>
      </p:sp>
      <p:sp>
        <p:nvSpPr>
          <p:cNvPr id="26" name="TextBox 25">
            <a:extLst>
              <a:ext uri="{FF2B5EF4-FFF2-40B4-BE49-F238E27FC236}">
                <a16:creationId xmlns:a16="http://schemas.microsoft.com/office/drawing/2014/main" id="{E8AD9049-5E3D-59F3-F299-988AF52EBC8A}"/>
              </a:ext>
            </a:extLst>
          </p:cNvPr>
          <p:cNvSpPr txBox="1">
            <a:spLocks/>
          </p:cNvSpPr>
          <p:nvPr/>
        </p:nvSpPr>
        <p:spPr>
          <a:xfrm>
            <a:off x="9491734" y="5240206"/>
            <a:ext cx="2207110" cy="86177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de-AT" sz="1000" kern="1200" noProof="0" dirty="0">
                <a:solidFill>
                  <a:srgbClr val="000000"/>
                </a:solidFill>
                <a:latin typeface="Aptos" panose="020B0004020202020204" pitchFamily="34" charset="0"/>
              </a:rPr>
              <a:t>Ein deutsches Krankenhaus litt unter erheblichen Störungen, darunter bei der Patientenplanung und den medizinischen Bildgebungssystemen. </a:t>
            </a:r>
            <a:endParaRPr kumimoji="0" lang="de-AT" sz="1000" b="0" i="0" u="none" strike="noStrike" kern="1200" cap="none" spc="0" normalizeH="0" baseline="0" noProof="0" dirty="0">
              <a:ln>
                <a:noFill/>
              </a:ln>
              <a:solidFill>
                <a:srgbClr val="000000"/>
              </a:solidFill>
              <a:effectLst/>
              <a:uLnTx/>
              <a:uFillTx/>
              <a:latin typeface="Aptos" panose="020B0004020202020204" pitchFamily="34" charset="0"/>
            </a:endParaRPr>
          </a:p>
        </p:txBody>
      </p:sp>
      <p:cxnSp>
        <p:nvCxnSpPr>
          <p:cNvPr id="33" name="Straight Connector 32">
            <a:extLst>
              <a:ext uri="{FF2B5EF4-FFF2-40B4-BE49-F238E27FC236}">
                <a16:creationId xmlns:a16="http://schemas.microsoft.com/office/drawing/2014/main" id="{7CD8608E-3644-6BDE-58E1-E79013DC8A8E}"/>
              </a:ext>
            </a:extLst>
          </p:cNvPr>
          <p:cNvCxnSpPr>
            <a:cxnSpLocks/>
          </p:cNvCxnSpPr>
          <p:nvPr/>
        </p:nvCxnSpPr>
        <p:spPr>
          <a:xfrm>
            <a:off x="493175" y="4905772"/>
            <a:ext cx="11219400" cy="0"/>
          </a:xfrm>
          <a:prstGeom prst="line">
            <a:avLst/>
          </a:prstGeom>
          <a:solidFill>
            <a:schemeClr val="accent1"/>
          </a:solidFill>
          <a:ln w="28575" cap="flat" cmpd="sng" algn="ctr">
            <a:solidFill>
              <a:schemeClr val="accent1"/>
            </a:solidFill>
            <a:prstDash val="solid"/>
            <a:miter lim="800000"/>
          </a:ln>
          <a:effectLst/>
        </p:spPr>
      </p:cxnSp>
      <p:pic>
        <p:nvPicPr>
          <p:cNvPr id="35" name="Picture 34">
            <a:extLst>
              <a:ext uri="{FF2B5EF4-FFF2-40B4-BE49-F238E27FC236}">
                <a16:creationId xmlns:a16="http://schemas.microsoft.com/office/drawing/2014/main" id="{CC1394B7-7678-902E-BC2F-3D7B5DDBCE97}"/>
              </a:ext>
            </a:extLst>
          </p:cNvPr>
          <p:cNvPicPr>
            <a:picLocks noChangeAspect="1"/>
          </p:cNvPicPr>
          <p:nvPr/>
        </p:nvPicPr>
        <p:blipFill>
          <a:blip r:embed="rId6"/>
          <a:stretch>
            <a:fillRect/>
          </a:stretch>
        </p:blipFill>
        <p:spPr>
          <a:xfrm>
            <a:off x="485946" y="5180329"/>
            <a:ext cx="1151645" cy="767763"/>
          </a:xfrm>
          <a:prstGeom prst="rect">
            <a:avLst/>
          </a:prstGeom>
        </p:spPr>
      </p:pic>
      <p:pic>
        <p:nvPicPr>
          <p:cNvPr id="39" name="Picture 38">
            <a:extLst>
              <a:ext uri="{FF2B5EF4-FFF2-40B4-BE49-F238E27FC236}">
                <a16:creationId xmlns:a16="http://schemas.microsoft.com/office/drawing/2014/main" id="{BB0D08F8-4DE1-74B9-49E0-26D343B095E4}"/>
              </a:ext>
            </a:extLst>
          </p:cNvPr>
          <p:cNvPicPr>
            <a:picLocks noChangeAspect="1"/>
          </p:cNvPicPr>
          <p:nvPr/>
        </p:nvPicPr>
        <p:blipFill>
          <a:blip r:embed="rId7"/>
          <a:srcRect l="1974" r="13651"/>
          <a:stretch/>
        </p:blipFill>
        <p:spPr>
          <a:xfrm>
            <a:off x="4459708" y="5180329"/>
            <a:ext cx="1151645" cy="767763"/>
          </a:xfrm>
          <a:prstGeom prst="rect">
            <a:avLst/>
          </a:prstGeom>
        </p:spPr>
      </p:pic>
      <p:grpSp>
        <p:nvGrpSpPr>
          <p:cNvPr id="10" name="Group 9">
            <a:extLst>
              <a:ext uri="{FF2B5EF4-FFF2-40B4-BE49-F238E27FC236}">
                <a16:creationId xmlns:a16="http://schemas.microsoft.com/office/drawing/2014/main" id="{F577287C-0D00-DAEC-3A60-23A760E8F6D0}"/>
              </a:ext>
            </a:extLst>
          </p:cNvPr>
          <p:cNvGrpSpPr>
            <a:grpSpLocks/>
          </p:cNvGrpSpPr>
          <p:nvPr/>
        </p:nvGrpSpPr>
        <p:grpSpPr>
          <a:xfrm>
            <a:off x="5013302" y="2024960"/>
            <a:ext cx="2166563" cy="2171972"/>
            <a:chOff x="3267318" y="1569207"/>
            <a:chExt cx="2166563" cy="2171972"/>
          </a:xfrm>
        </p:grpSpPr>
        <p:sp>
          <p:nvSpPr>
            <p:cNvPr id="11" name="Freeform 5">
              <a:extLst>
                <a:ext uri="{FF2B5EF4-FFF2-40B4-BE49-F238E27FC236}">
                  <a16:creationId xmlns:a16="http://schemas.microsoft.com/office/drawing/2014/main" id="{8E6EA613-1ED9-38DF-2E80-67B80720AAE4}"/>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13" name="Freeform 6">
              <a:extLst>
                <a:ext uri="{FF2B5EF4-FFF2-40B4-BE49-F238E27FC236}">
                  <a16:creationId xmlns:a16="http://schemas.microsoft.com/office/drawing/2014/main" id="{928F240E-5B0A-7597-1BE5-1A2F38309F5C}"/>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14" name="Freeform 7">
              <a:extLst>
                <a:ext uri="{FF2B5EF4-FFF2-40B4-BE49-F238E27FC236}">
                  <a16:creationId xmlns:a16="http://schemas.microsoft.com/office/drawing/2014/main" id="{97C5C3D1-3643-F0DE-2770-672B6DAF7FB8}"/>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16" name="Freeform 8">
              <a:extLst>
                <a:ext uri="{FF2B5EF4-FFF2-40B4-BE49-F238E27FC236}">
                  <a16:creationId xmlns:a16="http://schemas.microsoft.com/office/drawing/2014/main" id="{E7D33245-F5A6-E733-DD2E-BC32D2FC5773}"/>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18" name="Freeform 9">
              <a:extLst>
                <a:ext uri="{FF2B5EF4-FFF2-40B4-BE49-F238E27FC236}">
                  <a16:creationId xmlns:a16="http://schemas.microsoft.com/office/drawing/2014/main" id="{3A4BC4C2-04F5-EC21-A1A5-F254A93AF19F}"/>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0" name="Freeform 10">
              <a:extLst>
                <a:ext uri="{FF2B5EF4-FFF2-40B4-BE49-F238E27FC236}">
                  <a16:creationId xmlns:a16="http://schemas.microsoft.com/office/drawing/2014/main" id="{9E484418-0915-DDFE-2E04-FDE73D06E1C8}"/>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1" name="Freeform 11">
              <a:extLst>
                <a:ext uri="{FF2B5EF4-FFF2-40B4-BE49-F238E27FC236}">
                  <a16:creationId xmlns:a16="http://schemas.microsoft.com/office/drawing/2014/main" id="{D78B5BD4-A11A-D526-0743-91F50E7E3793}"/>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3" name="Freeform 12">
              <a:extLst>
                <a:ext uri="{FF2B5EF4-FFF2-40B4-BE49-F238E27FC236}">
                  <a16:creationId xmlns:a16="http://schemas.microsoft.com/office/drawing/2014/main" id="{BFEDC0EF-659A-8211-7BFA-E003F276F995}"/>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4" name="Freeform 13">
              <a:extLst>
                <a:ext uri="{FF2B5EF4-FFF2-40B4-BE49-F238E27FC236}">
                  <a16:creationId xmlns:a16="http://schemas.microsoft.com/office/drawing/2014/main" id="{089BBB93-7BDE-7FA8-E834-85A2396BD8EB}"/>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5" name="Freeform 14">
              <a:extLst>
                <a:ext uri="{FF2B5EF4-FFF2-40B4-BE49-F238E27FC236}">
                  <a16:creationId xmlns:a16="http://schemas.microsoft.com/office/drawing/2014/main" id="{80849EB9-373A-1DBC-906F-48B0463651FB}"/>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7" name="Freeform 15">
              <a:extLst>
                <a:ext uri="{FF2B5EF4-FFF2-40B4-BE49-F238E27FC236}">
                  <a16:creationId xmlns:a16="http://schemas.microsoft.com/office/drawing/2014/main" id="{36C78164-70AE-F745-FB28-DD9419D3C69E}"/>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28" name="Freeform 16">
              <a:extLst>
                <a:ext uri="{FF2B5EF4-FFF2-40B4-BE49-F238E27FC236}">
                  <a16:creationId xmlns:a16="http://schemas.microsoft.com/office/drawing/2014/main" id="{4A13D914-BEF6-10C1-7135-CA3F4BE77CEE}"/>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grpSp>
      <p:sp>
        <p:nvSpPr>
          <p:cNvPr id="54" name="Arc 53">
            <a:extLst>
              <a:ext uri="{FF2B5EF4-FFF2-40B4-BE49-F238E27FC236}">
                <a16:creationId xmlns:a16="http://schemas.microsoft.com/office/drawing/2014/main" id="{DEC93FDA-84FC-C6C5-63F4-46EFDFC10905}"/>
              </a:ext>
            </a:extLst>
          </p:cNvPr>
          <p:cNvSpPr/>
          <p:nvPr/>
        </p:nvSpPr>
        <p:spPr>
          <a:xfrm rot="581423">
            <a:off x="4743718" y="1752995"/>
            <a:ext cx="2697693" cy="2697693"/>
          </a:xfrm>
          <a:prstGeom prst="arc">
            <a:avLst>
              <a:gd name="adj1" fmla="val 18638933"/>
              <a:gd name="adj2" fmla="val 17228096"/>
            </a:avLst>
          </a:prstGeom>
          <a:ln w="28575" cmpd="sng">
            <a:solidFill>
              <a:schemeClr val="bg1">
                <a:lumMod val="8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5C5C5C"/>
              </a:solidFill>
              <a:effectLst/>
              <a:uLnTx/>
              <a:uFillTx/>
              <a:ea typeface="+mn-ea"/>
              <a:cs typeface="+mn-cs"/>
            </a:endParaRPr>
          </a:p>
        </p:txBody>
      </p:sp>
      <p:sp>
        <p:nvSpPr>
          <p:cNvPr id="61" name="Arc 60">
            <a:extLst>
              <a:ext uri="{FF2B5EF4-FFF2-40B4-BE49-F238E27FC236}">
                <a16:creationId xmlns:a16="http://schemas.microsoft.com/office/drawing/2014/main" id="{C7A7DF57-C1CE-FB67-AC0D-5256B93BD6E0}"/>
              </a:ext>
            </a:extLst>
          </p:cNvPr>
          <p:cNvSpPr>
            <a:spLocks/>
          </p:cNvSpPr>
          <p:nvPr/>
        </p:nvSpPr>
        <p:spPr>
          <a:xfrm rot="3986352" flipH="1">
            <a:off x="4845026" y="1855197"/>
            <a:ext cx="2503383" cy="2503383"/>
          </a:xfrm>
          <a:prstGeom prst="arc">
            <a:avLst>
              <a:gd name="adj1" fmla="val 18638933"/>
              <a:gd name="adj2" fmla="val 17228096"/>
            </a:avLst>
          </a:prstGeom>
          <a:ln w="28575" cmpd="sng">
            <a:solidFill>
              <a:schemeClr val="bg1">
                <a:lumMod val="8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62" name="Rectangle 61">
            <a:extLst>
              <a:ext uri="{FF2B5EF4-FFF2-40B4-BE49-F238E27FC236}">
                <a16:creationId xmlns:a16="http://schemas.microsoft.com/office/drawing/2014/main" id="{F98279EE-986B-6378-D61A-0954BFF70D82}"/>
              </a:ext>
            </a:extLst>
          </p:cNvPr>
          <p:cNvSpPr>
            <a:spLocks/>
          </p:cNvSpPr>
          <p:nvPr/>
        </p:nvSpPr>
        <p:spPr>
          <a:xfrm>
            <a:off x="8374871" y="1560107"/>
            <a:ext cx="3326296" cy="400110"/>
          </a:xfrm>
          <a:prstGeom prst="rect">
            <a:avLst/>
          </a:prstGeom>
        </p:spPr>
        <p:txBody>
          <a:bodyPr wrap="none" lIns="0" tIns="0" rIns="0" bIns="0">
            <a:spAutoFit/>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de-AT" sz="1400" b="1" i="0" u="none" strike="noStrike" kern="1200" cap="none" normalizeH="0" baseline="0" noProof="0" dirty="0">
                <a:ln>
                  <a:noFill/>
                </a:ln>
                <a:solidFill>
                  <a:schemeClr val="bg2">
                    <a:lumMod val="100000"/>
                  </a:schemeClr>
                </a:solidFill>
                <a:effectLst/>
                <a:uLnTx/>
                <a:uFillTx/>
                <a:latin typeface="Aptos" panose="020B0004020202020204" pitchFamily="34" charset="0"/>
              </a:rPr>
              <a:t>Kunden</a:t>
            </a:r>
          </a:p>
          <a:p>
            <a:pPr marL="0" marR="0" lvl="0" indent="0" algn="r" defTabSz="914400" eaLnBrk="1" fontAlgn="ctr" latinLnBrk="0" hangingPunct="1">
              <a:lnSpc>
                <a:spcPct val="100000"/>
              </a:lnSpc>
              <a:spcBef>
                <a:spcPts val="0"/>
              </a:spcBef>
              <a:spcAft>
                <a:spcPts val="0"/>
              </a:spcAft>
              <a:buClrTx/>
              <a:buSzTx/>
              <a:buFontTx/>
              <a:buNone/>
              <a:tabLst/>
              <a:defRPr/>
            </a:pPr>
            <a:r>
              <a:rPr kumimoji="0" lang="de-AT" sz="1200" i="0" u="none" strike="noStrike" kern="1200" cap="none" spc="0" normalizeH="0" baseline="0" noProof="0" dirty="0">
                <a:ln>
                  <a:noFill/>
                </a:ln>
                <a:effectLst/>
                <a:uLnTx/>
                <a:uFillTx/>
                <a:latin typeface="Aptos" panose="020B0004020202020204" pitchFamily="34" charset="0"/>
              </a:rPr>
              <a:t>Intelligente Lagerhallen, vernetzte Kassensysteme</a:t>
            </a:r>
          </a:p>
        </p:txBody>
      </p:sp>
      <p:cxnSp>
        <p:nvCxnSpPr>
          <p:cNvPr id="63" name="Straight Connector 62">
            <a:extLst>
              <a:ext uri="{FF2B5EF4-FFF2-40B4-BE49-F238E27FC236}">
                <a16:creationId xmlns:a16="http://schemas.microsoft.com/office/drawing/2014/main" id="{839D8692-BC2B-8F98-2178-BE4F3C121632}"/>
              </a:ext>
            </a:extLst>
          </p:cNvPr>
          <p:cNvCxnSpPr>
            <a:cxnSpLocks/>
          </p:cNvCxnSpPr>
          <p:nvPr/>
        </p:nvCxnSpPr>
        <p:spPr>
          <a:xfrm flipH="1" flipV="1">
            <a:off x="7227309" y="1959188"/>
            <a:ext cx="4454444" cy="2841"/>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9318A9A-F104-ED01-9CC0-274D7286E9F3}"/>
              </a:ext>
            </a:extLst>
          </p:cNvPr>
          <p:cNvCxnSpPr>
            <a:cxnSpLocks/>
          </p:cNvCxnSpPr>
          <p:nvPr/>
        </p:nvCxnSpPr>
        <p:spPr>
          <a:xfrm flipH="1">
            <a:off x="7778010" y="3103507"/>
            <a:ext cx="3950639"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B79BF86-0C4F-909F-CB19-747C5246E5C2}"/>
              </a:ext>
            </a:extLst>
          </p:cNvPr>
          <p:cNvCxnSpPr>
            <a:cxnSpLocks/>
          </p:cNvCxnSpPr>
          <p:nvPr/>
        </p:nvCxnSpPr>
        <p:spPr>
          <a:xfrm flipH="1" flipV="1">
            <a:off x="7238371" y="4146537"/>
            <a:ext cx="4474204" cy="20574"/>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74499966-CB5E-7B30-F53F-CA57FB379CFA}"/>
              </a:ext>
            </a:extLst>
          </p:cNvPr>
          <p:cNvSpPr>
            <a:spLocks/>
          </p:cNvSpPr>
          <p:nvPr/>
        </p:nvSpPr>
        <p:spPr>
          <a:xfrm>
            <a:off x="7318437" y="2836700"/>
            <a:ext cx="493797" cy="493797"/>
          </a:xfrm>
          <a:prstGeom prst="ellipse">
            <a:avLst/>
          </a:prstGeom>
          <a:solidFill>
            <a:schemeClr val="bg1"/>
          </a:solidFill>
          <a:ln w="28575" cmpd="sng">
            <a:solidFill>
              <a:schemeClr val="bg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3700" b="0" i="0" u="none" strike="noStrike" kern="1200" cap="none" spc="0" normalizeH="0" baseline="0" noProof="0" dirty="0">
              <a:ln>
                <a:noFill/>
              </a:ln>
              <a:solidFill>
                <a:prstClr val="white"/>
              </a:solidFill>
              <a:effectLst/>
              <a:uLnTx/>
              <a:uFillTx/>
              <a:ea typeface="+mn-ea"/>
              <a:cs typeface="+mn-cs"/>
            </a:endParaRPr>
          </a:p>
        </p:txBody>
      </p:sp>
      <p:sp>
        <p:nvSpPr>
          <p:cNvPr id="132" name="Oval 131">
            <a:extLst>
              <a:ext uri="{FF2B5EF4-FFF2-40B4-BE49-F238E27FC236}">
                <a16:creationId xmlns:a16="http://schemas.microsoft.com/office/drawing/2014/main" id="{A0C2B5B0-7BBC-6015-00CE-FE4CD54697A4}"/>
              </a:ext>
            </a:extLst>
          </p:cNvPr>
          <p:cNvSpPr>
            <a:spLocks/>
          </p:cNvSpPr>
          <p:nvPr/>
        </p:nvSpPr>
        <p:spPr>
          <a:xfrm>
            <a:off x="6742954" y="3908419"/>
            <a:ext cx="493797" cy="493797"/>
          </a:xfrm>
          <a:prstGeom prst="ellipse">
            <a:avLst/>
          </a:prstGeom>
          <a:solidFill>
            <a:schemeClr val="bg1"/>
          </a:solidFill>
          <a:ln w="28575" cmpd="sng">
            <a:solidFill>
              <a:schemeClr val="bg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3700" b="0" i="0" u="none" strike="noStrike" kern="1200" cap="none" spc="0" normalizeH="0" baseline="0" noProof="0" dirty="0">
              <a:ln>
                <a:noFill/>
              </a:ln>
              <a:solidFill>
                <a:prstClr val="white"/>
              </a:solidFill>
              <a:effectLst/>
              <a:uLnTx/>
              <a:uFillTx/>
              <a:ea typeface="+mn-ea"/>
              <a:cs typeface="+mn-cs"/>
            </a:endParaRPr>
          </a:p>
        </p:txBody>
      </p:sp>
      <p:sp>
        <p:nvSpPr>
          <p:cNvPr id="133" name="Rectangle 132">
            <a:extLst>
              <a:ext uri="{FF2B5EF4-FFF2-40B4-BE49-F238E27FC236}">
                <a16:creationId xmlns:a16="http://schemas.microsoft.com/office/drawing/2014/main" id="{C4C8040F-348B-69E7-684D-2873F09FF1DF}"/>
              </a:ext>
            </a:extLst>
          </p:cNvPr>
          <p:cNvSpPr>
            <a:spLocks/>
          </p:cNvSpPr>
          <p:nvPr/>
        </p:nvSpPr>
        <p:spPr>
          <a:xfrm>
            <a:off x="8692522" y="2688344"/>
            <a:ext cx="3008645" cy="400110"/>
          </a:xfrm>
          <a:prstGeom prst="rect">
            <a:avLst/>
          </a:prstGeom>
        </p:spPr>
        <p:txBody>
          <a:bodyPr wrap="none" lIns="0" tIns="0" rIns="0" bIns="0">
            <a:spAutoFit/>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de-AT" sz="1400" b="1" i="0" u="none" strike="noStrike" kern="1200" cap="none" normalizeH="0" baseline="0" noProof="0" dirty="0">
                <a:ln>
                  <a:noFill/>
                </a:ln>
                <a:solidFill>
                  <a:schemeClr val="accent1"/>
                </a:solidFill>
                <a:effectLst/>
                <a:uLnTx/>
                <a:uFillTx/>
                <a:latin typeface="Aptos" panose="020B0004020202020204" pitchFamily="34" charset="0"/>
              </a:rPr>
              <a:t>Energie</a:t>
            </a:r>
            <a:r>
              <a:rPr lang="de-AT" sz="1400" b="1" kern="1200" noProof="0" dirty="0">
                <a:solidFill>
                  <a:schemeClr val="accent1"/>
                </a:solidFill>
                <a:latin typeface="Aptos" panose="020B0004020202020204" pitchFamily="34" charset="0"/>
              </a:rPr>
              <a:t> &amp;</a:t>
            </a:r>
            <a:r>
              <a:rPr kumimoji="0" lang="de-AT" sz="1400" b="1" i="0" u="none" strike="noStrike" kern="1200" cap="none" normalizeH="0" baseline="0" noProof="0" dirty="0">
                <a:ln>
                  <a:noFill/>
                </a:ln>
                <a:solidFill>
                  <a:schemeClr val="accent1"/>
                </a:solidFill>
                <a:effectLst/>
                <a:uLnTx/>
                <a:uFillTx/>
                <a:latin typeface="Aptos" panose="020B0004020202020204" pitchFamily="34" charset="0"/>
              </a:rPr>
              <a:t> </a:t>
            </a:r>
            <a:r>
              <a:rPr kumimoji="0" lang="de-AT" sz="1400" b="1" i="0" u="none" strike="noStrike" kern="1200" cap="none" normalizeH="0" baseline="0" noProof="0" dirty="0" err="1">
                <a:ln>
                  <a:noFill/>
                </a:ln>
                <a:solidFill>
                  <a:schemeClr val="accent1"/>
                </a:solidFill>
                <a:effectLst/>
                <a:uLnTx/>
                <a:uFillTx/>
                <a:latin typeface="Aptos" panose="020B0004020202020204" pitchFamily="34" charset="0"/>
              </a:rPr>
              <a:t>Resourcen</a:t>
            </a:r>
            <a:endParaRPr kumimoji="0" lang="de-AT" sz="1400" b="1" i="0" u="none" strike="noStrike" kern="1200" cap="none" normalizeH="0" baseline="0" noProof="0" dirty="0">
              <a:ln>
                <a:noFill/>
              </a:ln>
              <a:solidFill>
                <a:schemeClr val="accent1"/>
              </a:solidFill>
              <a:effectLst/>
              <a:uLnTx/>
              <a:uFillTx/>
              <a:latin typeface="Aptos" panose="020B0004020202020204" pitchFamily="34" charset="0"/>
            </a:endParaRPr>
          </a:p>
          <a:p>
            <a:pPr marL="0" marR="0" lvl="0" indent="0" algn="r" defTabSz="914400" eaLnBrk="1" fontAlgn="ctr" latinLnBrk="0" hangingPunct="1">
              <a:lnSpc>
                <a:spcPct val="100000"/>
              </a:lnSpc>
              <a:spcBef>
                <a:spcPts val="0"/>
              </a:spcBef>
              <a:spcAft>
                <a:spcPts val="0"/>
              </a:spcAft>
              <a:buClrTx/>
              <a:buSzTx/>
              <a:buFontTx/>
              <a:buNone/>
              <a:tabLst/>
              <a:defRPr/>
            </a:pPr>
            <a:r>
              <a:rPr kumimoji="0" lang="de-AT" sz="1200" i="0" u="none" strike="noStrike" kern="1200" cap="none" spc="0" normalizeH="0" baseline="0" noProof="0" dirty="0">
                <a:ln>
                  <a:noFill/>
                </a:ln>
                <a:effectLst/>
                <a:uLnTx/>
                <a:uFillTx/>
                <a:latin typeface="Aptos" panose="020B0004020202020204" pitchFamily="34" charset="0"/>
              </a:rPr>
              <a:t>Stromnetz, Solarplantagen, Nuklearreaktoren</a:t>
            </a:r>
          </a:p>
        </p:txBody>
      </p:sp>
      <p:sp>
        <p:nvSpPr>
          <p:cNvPr id="134" name="Rectangle 133">
            <a:extLst>
              <a:ext uri="{FF2B5EF4-FFF2-40B4-BE49-F238E27FC236}">
                <a16:creationId xmlns:a16="http://schemas.microsoft.com/office/drawing/2014/main" id="{BC419EE7-37B9-7207-B363-AFF61BF35940}"/>
              </a:ext>
            </a:extLst>
          </p:cNvPr>
          <p:cNvSpPr>
            <a:spLocks/>
          </p:cNvSpPr>
          <p:nvPr/>
        </p:nvSpPr>
        <p:spPr>
          <a:xfrm>
            <a:off x="8953234" y="3758704"/>
            <a:ext cx="2747933" cy="400110"/>
          </a:xfrm>
          <a:prstGeom prst="rect">
            <a:avLst/>
          </a:prstGeom>
        </p:spPr>
        <p:txBody>
          <a:bodyPr wrap="none" lIns="0" tIns="0" rIns="0" bIns="0">
            <a:spAutoFit/>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de-AT" sz="1400" b="1" i="0" u="none" strike="noStrike" kern="1200" cap="none" normalizeH="0" baseline="0" noProof="0" dirty="0">
                <a:ln>
                  <a:noFill/>
                </a:ln>
                <a:solidFill>
                  <a:schemeClr val="accent2"/>
                </a:solidFill>
                <a:effectLst/>
                <a:uLnTx/>
                <a:uFillTx/>
                <a:latin typeface="Aptos" panose="020B0004020202020204" pitchFamily="34" charset="0"/>
              </a:rPr>
              <a:t>Technologie, Medien &amp; Telecom</a:t>
            </a:r>
          </a:p>
          <a:p>
            <a:pPr marL="0" marR="0" lvl="0" indent="0" algn="r" defTabSz="914400" eaLnBrk="1" fontAlgn="ctr" latinLnBrk="0" hangingPunct="1">
              <a:lnSpc>
                <a:spcPct val="100000"/>
              </a:lnSpc>
              <a:spcBef>
                <a:spcPts val="0"/>
              </a:spcBef>
              <a:spcAft>
                <a:spcPts val="0"/>
              </a:spcAft>
              <a:buClrTx/>
              <a:buSzTx/>
              <a:buFontTx/>
              <a:buNone/>
              <a:tabLst/>
              <a:defRPr/>
            </a:pPr>
            <a:r>
              <a:rPr lang="de-AT" sz="1200" kern="1200" noProof="0" dirty="0">
                <a:latin typeface="Aptos" panose="020B0004020202020204" pitchFamily="34" charset="0"/>
              </a:rPr>
              <a:t>Rechenzentren, Satellitenkommunikation</a:t>
            </a:r>
            <a:endParaRPr kumimoji="0" lang="de-AT" sz="1200" i="0" u="none" strike="noStrike" kern="1200" cap="none" spc="0" normalizeH="0" baseline="0" noProof="0" dirty="0">
              <a:ln>
                <a:noFill/>
              </a:ln>
              <a:effectLst/>
              <a:uLnTx/>
              <a:uFillTx/>
              <a:latin typeface="Aptos" panose="020B0004020202020204" pitchFamily="34" charset="0"/>
            </a:endParaRPr>
          </a:p>
        </p:txBody>
      </p:sp>
      <p:cxnSp>
        <p:nvCxnSpPr>
          <p:cNvPr id="139" name="Straight Connector 138">
            <a:extLst>
              <a:ext uri="{FF2B5EF4-FFF2-40B4-BE49-F238E27FC236}">
                <a16:creationId xmlns:a16="http://schemas.microsoft.com/office/drawing/2014/main" id="{704A1FD4-B79E-D76D-2FA7-8C910177D617}"/>
              </a:ext>
            </a:extLst>
          </p:cNvPr>
          <p:cNvCxnSpPr>
            <a:cxnSpLocks/>
          </p:cNvCxnSpPr>
          <p:nvPr/>
        </p:nvCxnSpPr>
        <p:spPr>
          <a:xfrm flipV="1">
            <a:off x="485946" y="1957580"/>
            <a:ext cx="4634066" cy="23462"/>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B5BCD4E-48C4-DF0C-FCEF-81ACE3BD42B0}"/>
              </a:ext>
            </a:extLst>
          </p:cNvPr>
          <p:cNvCxnSpPr>
            <a:cxnSpLocks/>
          </p:cNvCxnSpPr>
          <p:nvPr/>
        </p:nvCxnSpPr>
        <p:spPr>
          <a:xfrm>
            <a:off x="479425" y="3087207"/>
            <a:ext cx="3900341" cy="3935"/>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F0F1F10-6278-C5C2-8A8A-167ACC19D8D0}"/>
              </a:ext>
            </a:extLst>
          </p:cNvPr>
          <p:cNvCxnSpPr>
            <a:cxnSpLocks/>
          </p:cNvCxnSpPr>
          <p:nvPr/>
        </p:nvCxnSpPr>
        <p:spPr>
          <a:xfrm flipV="1">
            <a:off x="485946" y="4154080"/>
            <a:ext cx="4467683" cy="13031"/>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2" name="Oval 141">
            <a:extLst>
              <a:ext uri="{FF2B5EF4-FFF2-40B4-BE49-F238E27FC236}">
                <a16:creationId xmlns:a16="http://schemas.microsoft.com/office/drawing/2014/main" id="{D9C089DF-D7EB-4380-F79E-E48A125F1205}"/>
              </a:ext>
            </a:extLst>
          </p:cNvPr>
          <p:cNvSpPr>
            <a:spLocks/>
          </p:cNvSpPr>
          <p:nvPr/>
        </p:nvSpPr>
        <p:spPr>
          <a:xfrm flipH="1">
            <a:off x="4956103" y="1703138"/>
            <a:ext cx="493797" cy="493797"/>
          </a:xfrm>
          <a:prstGeom prst="ellipse">
            <a:avLst/>
          </a:prstGeom>
          <a:solidFill>
            <a:schemeClr val="bg1"/>
          </a:solidFill>
          <a:ln w="28575" cmpd="sng">
            <a:solidFill>
              <a:schemeClr val="bg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3700" b="0" i="0" u="none" strike="noStrike" kern="1200" cap="none" spc="0" normalizeH="0" baseline="0" noProof="0" dirty="0">
              <a:ln>
                <a:noFill/>
              </a:ln>
              <a:solidFill>
                <a:prstClr val="white"/>
              </a:solidFill>
              <a:effectLst/>
              <a:uLnTx/>
              <a:uFillTx/>
              <a:ea typeface="+mn-ea"/>
              <a:cs typeface="+mn-cs"/>
            </a:endParaRPr>
          </a:p>
        </p:txBody>
      </p:sp>
      <p:sp>
        <p:nvSpPr>
          <p:cNvPr id="143" name="Oval 142">
            <a:extLst>
              <a:ext uri="{FF2B5EF4-FFF2-40B4-BE49-F238E27FC236}">
                <a16:creationId xmlns:a16="http://schemas.microsoft.com/office/drawing/2014/main" id="{FCD130DA-65A3-6366-E4CD-B9E34FF63E5A}"/>
              </a:ext>
            </a:extLst>
          </p:cNvPr>
          <p:cNvSpPr>
            <a:spLocks/>
          </p:cNvSpPr>
          <p:nvPr/>
        </p:nvSpPr>
        <p:spPr>
          <a:xfrm flipH="1">
            <a:off x="4379766" y="2834952"/>
            <a:ext cx="493797" cy="493797"/>
          </a:xfrm>
          <a:prstGeom prst="ellipse">
            <a:avLst/>
          </a:prstGeom>
          <a:solidFill>
            <a:schemeClr val="bg1"/>
          </a:solidFill>
          <a:ln w="28575" cmpd="sng">
            <a:solidFill>
              <a:schemeClr val="bg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3700" b="0" i="0" u="none" strike="noStrike" kern="1200" cap="none" spc="0" normalizeH="0" baseline="0" noProof="0" dirty="0">
              <a:ln>
                <a:noFill/>
              </a:ln>
              <a:solidFill>
                <a:prstClr val="white"/>
              </a:solidFill>
              <a:effectLst/>
              <a:uLnTx/>
              <a:uFillTx/>
              <a:ea typeface="+mn-ea"/>
              <a:cs typeface="+mn-cs"/>
            </a:endParaRPr>
          </a:p>
        </p:txBody>
      </p:sp>
      <p:sp>
        <p:nvSpPr>
          <p:cNvPr id="144" name="Oval 143">
            <a:extLst>
              <a:ext uri="{FF2B5EF4-FFF2-40B4-BE49-F238E27FC236}">
                <a16:creationId xmlns:a16="http://schemas.microsoft.com/office/drawing/2014/main" id="{F1F12CCE-B4A9-B8BD-EEDD-5A196B89E716}"/>
              </a:ext>
            </a:extLst>
          </p:cNvPr>
          <p:cNvSpPr/>
          <p:nvPr/>
        </p:nvSpPr>
        <p:spPr>
          <a:xfrm flipH="1">
            <a:off x="4960845" y="3896404"/>
            <a:ext cx="493797" cy="493797"/>
          </a:xfrm>
          <a:prstGeom prst="ellipse">
            <a:avLst/>
          </a:prstGeom>
          <a:solidFill>
            <a:schemeClr val="bg1"/>
          </a:solidFill>
          <a:ln w="28575" cmpd="sng">
            <a:solidFill>
              <a:schemeClr val="bg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3700" b="0" i="0" u="none" strike="noStrike" kern="1200" cap="none" spc="0" normalizeH="0" baseline="0" noProof="0" dirty="0">
              <a:ln>
                <a:noFill/>
              </a:ln>
              <a:solidFill>
                <a:prstClr val="white"/>
              </a:solidFill>
              <a:effectLst/>
              <a:uLnTx/>
              <a:uFillTx/>
              <a:ea typeface="+mn-ea"/>
              <a:cs typeface="+mn-cs"/>
            </a:endParaRPr>
          </a:p>
        </p:txBody>
      </p:sp>
      <p:sp>
        <p:nvSpPr>
          <p:cNvPr id="145" name="Rectangle 144">
            <a:extLst>
              <a:ext uri="{FF2B5EF4-FFF2-40B4-BE49-F238E27FC236}">
                <a16:creationId xmlns:a16="http://schemas.microsoft.com/office/drawing/2014/main" id="{C360F45B-B62C-3089-4289-6E979592F1AC}"/>
              </a:ext>
            </a:extLst>
          </p:cNvPr>
          <p:cNvSpPr/>
          <p:nvPr/>
        </p:nvSpPr>
        <p:spPr>
          <a:xfrm>
            <a:off x="492707" y="1560107"/>
            <a:ext cx="3264483" cy="400110"/>
          </a:xfrm>
          <a:prstGeom prst="rect">
            <a:avLst/>
          </a:prstGeom>
        </p:spPr>
        <p:txBody>
          <a:bodyPr wrap="none" lIns="0" tIns="0" rIns="0" bIns="0">
            <a:spAutoFit/>
          </a:bodyPr>
          <a:lstStyle/>
          <a:p>
            <a:pPr marL="0" marR="0" lvl="0" indent="0" algn="l" defTabSz="914400" eaLnBrk="1" fontAlgn="ctr" latinLnBrk="0" hangingPunct="1">
              <a:lnSpc>
                <a:spcPct val="100000"/>
              </a:lnSpc>
              <a:spcBef>
                <a:spcPts val="0"/>
              </a:spcBef>
              <a:spcAft>
                <a:spcPts val="0"/>
              </a:spcAft>
              <a:buClrTx/>
              <a:buSzTx/>
              <a:buFontTx/>
              <a:buNone/>
              <a:tabLst/>
              <a:defRPr/>
            </a:pPr>
            <a:r>
              <a:rPr kumimoji="0" lang="de-AT" sz="1400" b="1" i="0" u="none" strike="noStrike" kern="1200" cap="none" normalizeH="0" baseline="0" noProof="0" dirty="0">
                <a:ln>
                  <a:noFill/>
                </a:ln>
                <a:solidFill>
                  <a:schemeClr val="accent6"/>
                </a:solidFill>
                <a:effectLst/>
                <a:uLnTx/>
                <a:uFillTx/>
                <a:latin typeface="Aptos" panose="020B0004020202020204" pitchFamily="34" charset="0"/>
              </a:rPr>
              <a:t>Biowissenschaft &amp; Gesundheitswesen</a:t>
            </a:r>
          </a:p>
          <a:p>
            <a:pPr fontAlgn="ctr">
              <a:defRPr/>
            </a:pPr>
            <a:r>
              <a:rPr lang="de-AT" sz="1200" kern="1200" noProof="0" dirty="0">
                <a:solidFill>
                  <a:prstClr val="black"/>
                </a:solidFill>
                <a:latin typeface="Aptos" panose="020B0004020202020204" pitchFamily="34" charset="0"/>
              </a:rPr>
              <a:t>Laborausrüstung, Röntgengeräte, MRI Maschinen</a:t>
            </a:r>
          </a:p>
        </p:txBody>
      </p:sp>
      <p:sp>
        <p:nvSpPr>
          <p:cNvPr id="147" name="Rectangle 146">
            <a:extLst>
              <a:ext uri="{FF2B5EF4-FFF2-40B4-BE49-F238E27FC236}">
                <a16:creationId xmlns:a16="http://schemas.microsoft.com/office/drawing/2014/main" id="{E9665A3B-C9A7-85A9-38CE-E0D699A6D597}"/>
              </a:ext>
            </a:extLst>
          </p:cNvPr>
          <p:cNvSpPr>
            <a:spLocks/>
          </p:cNvSpPr>
          <p:nvPr/>
        </p:nvSpPr>
        <p:spPr>
          <a:xfrm>
            <a:off x="492707" y="2688344"/>
            <a:ext cx="1830437" cy="400110"/>
          </a:xfrm>
          <a:prstGeom prst="rect">
            <a:avLst/>
          </a:prstGeom>
        </p:spPr>
        <p:txBody>
          <a:bodyPr wrap="none" lIns="0" tIns="0" rIns="0" bIns="0">
            <a:spAutoFit/>
          </a:bodyPr>
          <a:lstStyle/>
          <a:p>
            <a:pPr marL="0" marR="0" lvl="0" indent="0" algn="l" defTabSz="914400" eaLnBrk="1" fontAlgn="ctr" latinLnBrk="0" hangingPunct="1">
              <a:lnSpc>
                <a:spcPct val="100000"/>
              </a:lnSpc>
              <a:spcBef>
                <a:spcPts val="0"/>
              </a:spcBef>
              <a:spcAft>
                <a:spcPts val="0"/>
              </a:spcAft>
              <a:buClrTx/>
              <a:buSzTx/>
              <a:buFontTx/>
              <a:buNone/>
              <a:tabLst/>
              <a:defRPr/>
            </a:pPr>
            <a:r>
              <a:rPr kumimoji="0" lang="de-AT" sz="1400" b="1" i="0" u="none" strike="noStrike" kern="1200" cap="none" normalizeH="0" baseline="0" noProof="0" dirty="0">
                <a:ln>
                  <a:noFill/>
                </a:ln>
                <a:solidFill>
                  <a:schemeClr val="accent4"/>
                </a:solidFill>
                <a:effectLst/>
                <a:uLnTx/>
                <a:uFillTx/>
                <a:latin typeface="Aptos" panose="020B0004020202020204" pitchFamily="34" charset="0"/>
              </a:rPr>
              <a:t>Industrie &amp; Produktion</a:t>
            </a:r>
          </a:p>
          <a:p>
            <a:pPr marL="0" marR="0" lvl="0" indent="0" algn="l" defTabSz="914400" eaLnBrk="1" fontAlgn="ctr" latinLnBrk="0" hangingPunct="1">
              <a:lnSpc>
                <a:spcPct val="100000"/>
              </a:lnSpc>
              <a:spcBef>
                <a:spcPts val="0"/>
              </a:spcBef>
              <a:spcAft>
                <a:spcPts val="0"/>
              </a:spcAft>
              <a:buClrTx/>
              <a:buSzTx/>
              <a:buFontTx/>
              <a:buNone/>
              <a:tabLst/>
              <a:defRPr/>
            </a:pPr>
            <a:r>
              <a:rPr kumimoji="0" lang="de-AT" sz="1200" i="0" u="none" strike="noStrike" kern="1200" cap="none" spc="0" normalizeH="0" baseline="0" noProof="0" dirty="0">
                <a:ln>
                  <a:noFill/>
                </a:ln>
                <a:effectLst/>
                <a:uLnTx/>
                <a:uFillTx/>
                <a:latin typeface="Aptos" panose="020B0004020202020204" pitchFamily="34" charset="0"/>
              </a:rPr>
              <a:t>Fabriken, Robotersysteme</a:t>
            </a:r>
          </a:p>
        </p:txBody>
      </p:sp>
      <p:sp>
        <p:nvSpPr>
          <p:cNvPr id="148" name="Rectangle 147">
            <a:extLst>
              <a:ext uri="{FF2B5EF4-FFF2-40B4-BE49-F238E27FC236}">
                <a16:creationId xmlns:a16="http://schemas.microsoft.com/office/drawing/2014/main" id="{25E833F2-F9D7-61DB-4696-A582655F46FD}"/>
              </a:ext>
            </a:extLst>
          </p:cNvPr>
          <p:cNvSpPr>
            <a:spLocks/>
          </p:cNvSpPr>
          <p:nvPr/>
        </p:nvSpPr>
        <p:spPr>
          <a:xfrm>
            <a:off x="492707" y="3758704"/>
            <a:ext cx="3025187" cy="400110"/>
          </a:xfrm>
          <a:prstGeom prst="rect">
            <a:avLst/>
          </a:prstGeom>
        </p:spPr>
        <p:txBody>
          <a:bodyPr wrap="none" lIns="0" tIns="0" rIns="0" bIns="0">
            <a:spAutoFit/>
          </a:bodyPr>
          <a:lstStyle/>
          <a:p>
            <a:pPr marL="0" marR="0" lvl="0" indent="0" algn="l" defTabSz="914400" eaLnBrk="1" fontAlgn="ctr" latinLnBrk="0" hangingPunct="1">
              <a:lnSpc>
                <a:spcPct val="100000"/>
              </a:lnSpc>
              <a:spcBef>
                <a:spcPts val="0"/>
              </a:spcBef>
              <a:spcAft>
                <a:spcPts val="0"/>
              </a:spcAft>
              <a:buClrTx/>
              <a:buSzTx/>
              <a:buFontTx/>
              <a:buNone/>
              <a:tabLst/>
              <a:defRPr/>
            </a:pPr>
            <a:r>
              <a:rPr kumimoji="0" lang="de-AT" sz="1400" b="1" i="0" u="none" strike="noStrike" kern="1200" cap="none" normalizeH="0" baseline="0" noProof="0" dirty="0">
                <a:ln>
                  <a:noFill/>
                </a:ln>
                <a:solidFill>
                  <a:schemeClr val="accent3"/>
                </a:solidFill>
                <a:effectLst/>
                <a:uLnTx/>
                <a:uFillTx/>
                <a:latin typeface="Aptos" panose="020B0004020202020204" pitchFamily="34" charset="0"/>
              </a:rPr>
              <a:t>Regierung &amp; öffentlicher Sektor</a:t>
            </a:r>
          </a:p>
          <a:p>
            <a:pPr marL="0" marR="0" lvl="0" indent="0" algn="l" defTabSz="914400" eaLnBrk="1" fontAlgn="ctr" latinLnBrk="0" hangingPunct="1">
              <a:lnSpc>
                <a:spcPct val="100000"/>
              </a:lnSpc>
              <a:spcBef>
                <a:spcPts val="0"/>
              </a:spcBef>
              <a:spcAft>
                <a:spcPts val="0"/>
              </a:spcAft>
              <a:buClrTx/>
              <a:buSzTx/>
              <a:buFontTx/>
              <a:buNone/>
              <a:tabLst/>
              <a:defRPr/>
            </a:pPr>
            <a:r>
              <a:rPr kumimoji="0" lang="de-AT" sz="1200" i="0" u="none" strike="noStrike" kern="1200" cap="none" spc="0" normalizeH="0" baseline="0" noProof="0" dirty="0">
                <a:ln>
                  <a:noFill/>
                </a:ln>
                <a:effectLst/>
                <a:uLnTx/>
                <a:uFillTx/>
                <a:latin typeface="Aptos" panose="020B0004020202020204" pitchFamily="34" charset="0"/>
              </a:rPr>
              <a:t>Flughäfen, militärische Kontrollsysteme, Züge</a:t>
            </a:r>
          </a:p>
        </p:txBody>
      </p:sp>
      <p:sp>
        <p:nvSpPr>
          <p:cNvPr id="163" name="Freeform 7">
            <a:extLst>
              <a:ext uri="{FF2B5EF4-FFF2-40B4-BE49-F238E27FC236}">
                <a16:creationId xmlns:a16="http://schemas.microsoft.com/office/drawing/2014/main" id="{FFE33D95-8B2F-5EE2-2FF9-FED3F699B23E}"/>
              </a:ext>
            </a:extLst>
          </p:cNvPr>
          <p:cNvSpPr>
            <a:spLocks noEditPoints="1"/>
          </p:cNvSpPr>
          <p:nvPr/>
        </p:nvSpPr>
        <p:spPr bwMode="auto">
          <a:xfrm>
            <a:off x="6732146" y="3910024"/>
            <a:ext cx="515413" cy="490586"/>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grpSp>
        <p:nvGrpSpPr>
          <p:cNvPr id="199" name="Graphic 4">
            <a:extLst>
              <a:ext uri="{FF2B5EF4-FFF2-40B4-BE49-F238E27FC236}">
                <a16:creationId xmlns:a16="http://schemas.microsoft.com/office/drawing/2014/main" id="{3D9711DD-F309-BA8C-D756-0EA015938B3A}"/>
              </a:ext>
            </a:extLst>
          </p:cNvPr>
          <p:cNvGrpSpPr>
            <a:grpSpLocks/>
          </p:cNvGrpSpPr>
          <p:nvPr/>
        </p:nvGrpSpPr>
        <p:grpSpPr>
          <a:xfrm>
            <a:off x="6890852" y="4029317"/>
            <a:ext cx="198000" cy="252000"/>
            <a:chOff x="557429" y="2430055"/>
            <a:chExt cx="182569" cy="244357"/>
          </a:xfrm>
          <a:solidFill>
            <a:schemeClr val="accent2"/>
          </a:solidFill>
        </p:grpSpPr>
        <p:sp>
          <p:nvSpPr>
            <p:cNvPr id="201" name="Graphic 4">
              <a:extLst>
                <a:ext uri="{FF2B5EF4-FFF2-40B4-BE49-F238E27FC236}">
                  <a16:creationId xmlns:a16="http://schemas.microsoft.com/office/drawing/2014/main" id="{63D1F0DB-149E-E2FE-99BD-05929BD6D50F}"/>
                </a:ext>
              </a:extLst>
            </p:cNvPr>
            <p:cNvSpPr/>
            <p:nvPr/>
          </p:nvSpPr>
          <p:spPr>
            <a:xfrm>
              <a:off x="591471" y="2464096"/>
              <a:ext cx="37915" cy="100773"/>
            </a:xfrm>
            <a:custGeom>
              <a:avLst/>
              <a:gdLst>
                <a:gd name="connsiteX0" fmla="*/ 34742 w 37915"/>
                <a:gd name="connsiteY0" fmla="*/ 89021 h 100773"/>
                <a:gd name="connsiteX1" fmla="*/ 18768 w 37915"/>
                <a:gd name="connsiteY1" fmla="*/ 27735 h 100773"/>
                <a:gd name="connsiteX2" fmla="*/ 34742 w 37915"/>
                <a:gd name="connsiteY2" fmla="*/ 11775 h 100773"/>
                <a:gd name="connsiteX3" fmla="*/ 36659 w 37915"/>
                <a:gd name="connsiteY3" fmla="*/ 2837 h 100773"/>
                <a:gd name="connsiteX4" fmla="*/ 28353 w 37915"/>
                <a:gd name="connsiteY4" fmla="*/ 922 h 100773"/>
                <a:gd name="connsiteX5" fmla="*/ 7905 w 37915"/>
                <a:gd name="connsiteY5" fmla="*/ 79445 h 100773"/>
                <a:gd name="connsiteX6" fmla="*/ 28353 w 37915"/>
                <a:gd name="connsiteY6" fmla="*/ 99874 h 100773"/>
                <a:gd name="connsiteX7" fmla="*/ 37298 w 37915"/>
                <a:gd name="connsiteY7" fmla="*/ 97320 h 100773"/>
                <a:gd name="connsiteX8" fmla="*/ 34742 w 37915"/>
                <a:gd name="connsiteY8" fmla="*/ 89021 h 10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5" h="100773">
                  <a:moveTo>
                    <a:pt x="34742" y="89021"/>
                  </a:moveTo>
                  <a:cubicBezTo>
                    <a:pt x="13656" y="76891"/>
                    <a:pt x="5988" y="49440"/>
                    <a:pt x="18768" y="27735"/>
                  </a:cubicBezTo>
                  <a:cubicBezTo>
                    <a:pt x="22602" y="20712"/>
                    <a:pt x="28353" y="15605"/>
                    <a:pt x="34742" y="11775"/>
                  </a:cubicBezTo>
                  <a:cubicBezTo>
                    <a:pt x="37937" y="9860"/>
                    <a:pt x="38576" y="6029"/>
                    <a:pt x="36659" y="2837"/>
                  </a:cubicBezTo>
                  <a:cubicBezTo>
                    <a:pt x="34742" y="284"/>
                    <a:pt x="31548" y="-993"/>
                    <a:pt x="28353" y="922"/>
                  </a:cubicBezTo>
                  <a:cubicBezTo>
                    <a:pt x="876" y="16882"/>
                    <a:pt x="-8070" y="51994"/>
                    <a:pt x="7905" y="79445"/>
                  </a:cubicBezTo>
                  <a:cubicBezTo>
                    <a:pt x="13017" y="87744"/>
                    <a:pt x="20046" y="94767"/>
                    <a:pt x="28353" y="99874"/>
                  </a:cubicBezTo>
                  <a:cubicBezTo>
                    <a:pt x="31548" y="101789"/>
                    <a:pt x="35381" y="100512"/>
                    <a:pt x="37298" y="97320"/>
                  </a:cubicBezTo>
                  <a:cubicBezTo>
                    <a:pt x="38576" y="94767"/>
                    <a:pt x="37937" y="90936"/>
                    <a:pt x="34742" y="89021"/>
                  </a:cubicBezTo>
                  <a:close/>
                </a:path>
              </a:pathLst>
            </a:custGeom>
            <a:grpFill/>
            <a:ln w="6390" cap="flat">
              <a:noFill/>
              <a:prstDash val="solid"/>
              <a:miter/>
            </a:ln>
          </p:spPr>
          <p:txBody>
            <a:bodyPr rtlCol="0" anchor="ctr"/>
            <a:lstStyle/>
            <a:p>
              <a:endParaRPr lang="de-AT" noProof="0" dirty="0"/>
            </a:p>
          </p:txBody>
        </p:sp>
        <p:sp>
          <p:nvSpPr>
            <p:cNvPr id="202" name="Graphic 4">
              <a:extLst>
                <a:ext uri="{FF2B5EF4-FFF2-40B4-BE49-F238E27FC236}">
                  <a16:creationId xmlns:a16="http://schemas.microsoft.com/office/drawing/2014/main" id="{180ABD87-D4B7-9199-868A-B0E41BB48B76}"/>
                </a:ext>
              </a:extLst>
            </p:cNvPr>
            <p:cNvSpPr/>
            <p:nvPr/>
          </p:nvSpPr>
          <p:spPr>
            <a:xfrm>
              <a:off x="557429" y="2430055"/>
              <a:ext cx="63672" cy="169026"/>
            </a:xfrm>
            <a:custGeom>
              <a:avLst/>
              <a:gdLst>
                <a:gd name="connsiteX0" fmla="*/ 59838 w 63672"/>
                <a:gd name="connsiteY0" fmla="*/ 156258 h 169026"/>
                <a:gd name="connsiteX1" fmla="*/ 18943 w 63672"/>
                <a:gd name="connsiteY1" fmla="*/ 52838 h 169026"/>
                <a:gd name="connsiteX2" fmla="*/ 59838 w 63672"/>
                <a:gd name="connsiteY2" fmla="*/ 11980 h 169026"/>
                <a:gd name="connsiteX3" fmla="*/ 63033 w 63672"/>
                <a:gd name="connsiteY3" fmla="*/ 3681 h 169026"/>
                <a:gd name="connsiteX4" fmla="*/ 54726 w 63672"/>
                <a:gd name="connsiteY4" fmla="*/ 489 h 169026"/>
                <a:gd name="connsiteX5" fmla="*/ 7441 w 63672"/>
                <a:gd name="connsiteY5" fmla="*/ 121147 h 169026"/>
                <a:gd name="connsiteX6" fmla="*/ 54726 w 63672"/>
                <a:gd name="connsiteY6" fmla="*/ 168388 h 169026"/>
                <a:gd name="connsiteX7" fmla="*/ 57282 w 63672"/>
                <a:gd name="connsiteY7" fmla="*/ 169026 h 169026"/>
                <a:gd name="connsiteX8" fmla="*/ 63672 w 63672"/>
                <a:gd name="connsiteY8" fmla="*/ 162642 h 169026"/>
                <a:gd name="connsiteX9" fmla="*/ 59838 w 63672"/>
                <a:gd name="connsiteY9" fmla="*/ 156258 h 169026"/>
                <a:gd name="connsiteX10" fmla="*/ 59838 w 63672"/>
                <a:gd name="connsiteY10" fmla="*/ 156258 h 16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72" h="169026">
                  <a:moveTo>
                    <a:pt x="59838" y="156258"/>
                  </a:moveTo>
                  <a:cubicBezTo>
                    <a:pt x="20221" y="139022"/>
                    <a:pt x="1690" y="92419"/>
                    <a:pt x="18943" y="52838"/>
                  </a:cubicBezTo>
                  <a:cubicBezTo>
                    <a:pt x="26611" y="34324"/>
                    <a:pt x="41308" y="20280"/>
                    <a:pt x="59838" y="11980"/>
                  </a:cubicBezTo>
                  <a:cubicBezTo>
                    <a:pt x="63033" y="10704"/>
                    <a:pt x="64311" y="6873"/>
                    <a:pt x="63033" y="3681"/>
                  </a:cubicBezTo>
                  <a:cubicBezTo>
                    <a:pt x="61755" y="489"/>
                    <a:pt x="57921" y="-788"/>
                    <a:pt x="54726" y="489"/>
                  </a:cubicBezTo>
                  <a:cubicBezTo>
                    <a:pt x="8719" y="20918"/>
                    <a:pt x="-12368" y="74544"/>
                    <a:pt x="7441" y="121147"/>
                  </a:cubicBezTo>
                  <a:cubicBezTo>
                    <a:pt x="16387" y="142214"/>
                    <a:pt x="33640" y="158812"/>
                    <a:pt x="54726" y="168388"/>
                  </a:cubicBezTo>
                  <a:cubicBezTo>
                    <a:pt x="55365" y="169026"/>
                    <a:pt x="56643" y="169026"/>
                    <a:pt x="57282" y="169026"/>
                  </a:cubicBezTo>
                  <a:cubicBezTo>
                    <a:pt x="61116" y="169026"/>
                    <a:pt x="63672" y="166473"/>
                    <a:pt x="63672" y="162642"/>
                  </a:cubicBezTo>
                  <a:cubicBezTo>
                    <a:pt x="63672" y="160089"/>
                    <a:pt x="61755" y="157535"/>
                    <a:pt x="59838" y="156258"/>
                  </a:cubicBezTo>
                  <a:lnTo>
                    <a:pt x="59838" y="156258"/>
                  </a:lnTo>
                  <a:close/>
                </a:path>
              </a:pathLst>
            </a:custGeom>
            <a:grpFill/>
            <a:ln w="6390" cap="flat">
              <a:noFill/>
              <a:prstDash val="solid"/>
              <a:miter/>
            </a:ln>
          </p:spPr>
          <p:txBody>
            <a:bodyPr rtlCol="0" anchor="ctr"/>
            <a:lstStyle/>
            <a:p>
              <a:endParaRPr lang="de-AT" noProof="0" dirty="0"/>
            </a:p>
          </p:txBody>
        </p:sp>
        <p:sp>
          <p:nvSpPr>
            <p:cNvPr id="203" name="Graphic 4">
              <a:extLst>
                <a:ext uri="{FF2B5EF4-FFF2-40B4-BE49-F238E27FC236}">
                  <a16:creationId xmlns:a16="http://schemas.microsoft.com/office/drawing/2014/main" id="{7D4A783E-612D-63C3-B939-CF296FA8DCE3}"/>
                </a:ext>
              </a:extLst>
            </p:cNvPr>
            <p:cNvSpPr/>
            <p:nvPr/>
          </p:nvSpPr>
          <p:spPr>
            <a:xfrm>
              <a:off x="624935" y="2491192"/>
              <a:ext cx="47373" cy="183220"/>
            </a:xfrm>
            <a:custGeom>
              <a:avLst/>
              <a:gdLst>
                <a:gd name="connsiteX0" fmla="*/ 23643 w 47373"/>
                <a:gd name="connsiteY0" fmla="*/ 0 h 183220"/>
                <a:gd name="connsiteX1" fmla="*/ 0 w 47373"/>
                <a:gd name="connsiteY1" fmla="*/ 22982 h 183220"/>
                <a:gd name="connsiteX2" fmla="*/ 17253 w 47373"/>
                <a:gd name="connsiteY2" fmla="*/ 45965 h 183220"/>
                <a:gd name="connsiteX3" fmla="*/ 17253 w 47373"/>
                <a:gd name="connsiteY3" fmla="*/ 176836 h 183220"/>
                <a:gd name="connsiteX4" fmla="*/ 23643 w 47373"/>
                <a:gd name="connsiteY4" fmla="*/ 183220 h 183220"/>
                <a:gd name="connsiteX5" fmla="*/ 30033 w 47373"/>
                <a:gd name="connsiteY5" fmla="*/ 176836 h 183220"/>
                <a:gd name="connsiteX6" fmla="*/ 30033 w 47373"/>
                <a:gd name="connsiteY6" fmla="*/ 45965 h 183220"/>
                <a:gd name="connsiteX7" fmla="*/ 46647 w 47373"/>
                <a:gd name="connsiteY7" fmla="*/ 17237 h 183220"/>
                <a:gd name="connsiteX8" fmla="*/ 23643 w 47373"/>
                <a:gd name="connsiteY8" fmla="*/ 0 h 183220"/>
                <a:gd name="connsiteX9" fmla="*/ 23643 w 47373"/>
                <a:gd name="connsiteY9" fmla="*/ 33835 h 183220"/>
                <a:gd name="connsiteX10" fmla="*/ 12780 w 47373"/>
                <a:gd name="connsiteY10" fmla="*/ 22982 h 183220"/>
                <a:gd name="connsiteX11" fmla="*/ 23643 w 47373"/>
                <a:gd name="connsiteY11" fmla="*/ 12130 h 183220"/>
                <a:gd name="connsiteX12" fmla="*/ 34506 w 47373"/>
                <a:gd name="connsiteY12" fmla="*/ 22982 h 183220"/>
                <a:gd name="connsiteX13" fmla="*/ 34506 w 47373"/>
                <a:gd name="connsiteY13" fmla="*/ 22982 h 183220"/>
                <a:gd name="connsiteX14" fmla="*/ 23643 w 47373"/>
                <a:gd name="connsiteY14" fmla="*/ 33835 h 183220"/>
                <a:gd name="connsiteX15" fmla="*/ 23643 w 47373"/>
                <a:gd name="connsiteY15" fmla="*/ 33835 h 18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373" h="183220">
                  <a:moveTo>
                    <a:pt x="23643" y="0"/>
                  </a:moveTo>
                  <a:cubicBezTo>
                    <a:pt x="10863" y="0"/>
                    <a:pt x="0" y="10214"/>
                    <a:pt x="0" y="22982"/>
                  </a:cubicBezTo>
                  <a:cubicBezTo>
                    <a:pt x="0" y="33835"/>
                    <a:pt x="7029" y="42773"/>
                    <a:pt x="17253" y="45965"/>
                  </a:cubicBezTo>
                  <a:lnTo>
                    <a:pt x="17253" y="176836"/>
                  </a:lnTo>
                  <a:cubicBezTo>
                    <a:pt x="17253" y="180667"/>
                    <a:pt x="19809" y="183220"/>
                    <a:pt x="23643" y="183220"/>
                  </a:cubicBezTo>
                  <a:cubicBezTo>
                    <a:pt x="27477" y="183220"/>
                    <a:pt x="30033" y="180667"/>
                    <a:pt x="30033" y="176836"/>
                  </a:cubicBezTo>
                  <a:lnTo>
                    <a:pt x="30033" y="45965"/>
                  </a:lnTo>
                  <a:cubicBezTo>
                    <a:pt x="42174" y="42773"/>
                    <a:pt x="49841" y="30005"/>
                    <a:pt x="46647" y="17237"/>
                  </a:cubicBezTo>
                  <a:cubicBezTo>
                    <a:pt x="43452" y="7022"/>
                    <a:pt x="33867" y="0"/>
                    <a:pt x="23643" y="0"/>
                  </a:cubicBezTo>
                  <a:close/>
                  <a:moveTo>
                    <a:pt x="23643" y="33835"/>
                  </a:moveTo>
                  <a:cubicBezTo>
                    <a:pt x="17892" y="33835"/>
                    <a:pt x="12780" y="29366"/>
                    <a:pt x="12780" y="22982"/>
                  </a:cubicBezTo>
                  <a:cubicBezTo>
                    <a:pt x="12780" y="17237"/>
                    <a:pt x="17253" y="12130"/>
                    <a:pt x="23643" y="12130"/>
                  </a:cubicBezTo>
                  <a:cubicBezTo>
                    <a:pt x="29394" y="12130"/>
                    <a:pt x="34506" y="16598"/>
                    <a:pt x="34506" y="22982"/>
                  </a:cubicBezTo>
                  <a:cubicBezTo>
                    <a:pt x="34506" y="22982"/>
                    <a:pt x="34506" y="22982"/>
                    <a:pt x="34506" y="22982"/>
                  </a:cubicBezTo>
                  <a:cubicBezTo>
                    <a:pt x="34506" y="29366"/>
                    <a:pt x="29394" y="33835"/>
                    <a:pt x="23643" y="33835"/>
                  </a:cubicBezTo>
                  <a:lnTo>
                    <a:pt x="23643" y="33835"/>
                  </a:lnTo>
                  <a:close/>
                </a:path>
              </a:pathLst>
            </a:custGeom>
            <a:grpFill/>
            <a:ln w="6390" cap="flat">
              <a:noFill/>
              <a:prstDash val="solid"/>
              <a:miter/>
            </a:ln>
          </p:spPr>
          <p:txBody>
            <a:bodyPr rtlCol="0" anchor="ctr"/>
            <a:lstStyle/>
            <a:p>
              <a:endParaRPr lang="de-AT" noProof="0" dirty="0"/>
            </a:p>
          </p:txBody>
        </p:sp>
        <p:sp>
          <p:nvSpPr>
            <p:cNvPr id="204" name="Graphic 4">
              <a:extLst>
                <a:ext uri="{FF2B5EF4-FFF2-40B4-BE49-F238E27FC236}">
                  <a16:creationId xmlns:a16="http://schemas.microsoft.com/office/drawing/2014/main" id="{6D65A3D5-970F-7B88-6051-009CCFE2D089}"/>
                </a:ext>
              </a:extLst>
            </p:cNvPr>
            <p:cNvSpPr/>
            <p:nvPr/>
          </p:nvSpPr>
          <p:spPr>
            <a:xfrm>
              <a:off x="667309" y="2463940"/>
              <a:ext cx="38778" cy="100951"/>
            </a:xfrm>
            <a:custGeom>
              <a:avLst/>
              <a:gdLst>
                <a:gd name="connsiteX0" fmla="*/ 38779 w 38778"/>
                <a:gd name="connsiteY0" fmla="*/ 50872 h 100951"/>
                <a:gd name="connsiteX1" fmla="*/ 10024 w 38778"/>
                <a:gd name="connsiteY1" fmla="*/ 1077 h 100951"/>
                <a:gd name="connsiteX2" fmla="*/ 1078 w 38778"/>
                <a:gd name="connsiteY2" fmla="*/ 2992 h 100951"/>
                <a:gd name="connsiteX3" fmla="*/ 2995 w 38778"/>
                <a:gd name="connsiteY3" fmla="*/ 11930 h 100951"/>
                <a:gd name="connsiteX4" fmla="*/ 3634 w 38778"/>
                <a:gd name="connsiteY4" fmla="*/ 11930 h 100951"/>
                <a:gd name="connsiteX5" fmla="*/ 19609 w 38778"/>
                <a:gd name="connsiteY5" fmla="*/ 73216 h 100951"/>
                <a:gd name="connsiteX6" fmla="*/ 3634 w 38778"/>
                <a:gd name="connsiteY6" fmla="*/ 89176 h 100951"/>
                <a:gd name="connsiteX7" fmla="*/ 1717 w 38778"/>
                <a:gd name="connsiteY7" fmla="*/ 98114 h 100951"/>
                <a:gd name="connsiteX8" fmla="*/ 10024 w 38778"/>
                <a:gd name="connsiteY8" fmla="*/ 100029 h 100951"/>
                <a:gd name="connsiteX9" fmla="*/ 38779 w 38778"/>
                <a:gd name="connsiteY9" fmla="*/ 50872 h 10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78" h="100951">
                  <a:moveTo>
                    <a:pt x="38779" y="50872"/>
                  </a:moveTo>
                  <a:cubicBezTo>
                    <a:pt x="38779" y="30444"/>
                    <a:pt x="27916" y="11292"/>
                    <a:pt x="10024" y="1077"/>
                  </a:cubicBezTo>
                  <a:cubicBezTo>
                    <a:pt x="6829" y="-838"/>
                    <a:pt x="2995" y="-200"/>
                    <a:pt x="1078" y="2992"/>
                  </a:cubicBezTo>
                  <a:cubicBezTo>
                    <a:pt x="-839" y="6184"/>
                    <a:pt x="-200" y="10015"/>
                    <a:pt x="2995" y="11930"/>
                  </a:cubicBezTo>
                  <a:cubicBezTo>
                    <a:pt x="2995" y="11930"/>
                    <a:pt x="2995" y="11930"/>
                    <a:pt x="3634" y="11930"/>
                  </a:cubicBezTo>
                  <a:cubicBezTo>
                    <a:pt x="24721" y="24060"/>
                    <a:pt x="32389" y="51511"/>
                    <a:pt x="19609" y="73216"/>
                  </a:cubicBezTo>
                  <a:cubicBezTo>
                    <a:pt x="15775" y="80239"/>
                    <a:pt x="10024" y="85346"/>
                    <a:pt x="3634" y="89176"/>
                  </a:cubicBezTo>
                  <a:cubicBezTo>
                    <a:pt x="439" y="91091"/>
                    <a:pt x="-200" y="94922"/>
                    <a:pt x="1717" y="98114"/>
                  </a:cubicBezTo>
                  <a:cubicBezTo>
                    <a:pt x="3634" y="100667"/>
                    <a:pt x="6829" y="101944"/>
                    <a:pt x="10024" y="100029"/>
                  </a:cubicBezTo>
                  <a:cubicBezTo>
                    <a:pt x="27916" y="89815"/>
                    <a:pt x="38779" y="71301"/>
                    <a:pt x="38779" y="50872"/>
                  </a:cubicBezTo>
                  <a:close/>
                </a:path>
              </a:pathLst>
            </a:custGeom>
            <a:grpFill/>
            <a:ln w="6390" cap="flat">
              <a:noFill/>
              <a:prstDash val="solid"/>
              <a:miter/>
            </a:ln>
          </p:spPr>
          <p:txBody>
            <a:bodyPr rtlCol="0" anchor="ctr"/>
            <a:lstStyle/>
            <a:p>
              <a:endParaRPr lang="de-AT" noProof="0" dirty="0"/>
            </a:p>
          </p:txBody>
        </p:sp>
        <p:sp>
          <p:nvSpPr>
            <p:cNvPr id="205" name="Graphic 4">
              <a:extLst>
                <a:ext uri="{FF2B5EF4-FFF2-40B4-BE49-F238E27FC236}">
                  <a16:creationId xmlns:a16="http://schemas.microsoft.com/office/drawing/2014/main" id="{303FAECB-8DBA-F9DF-BF7D-4046AE04B501}"/>
                </a:ext>
              </a:extLst>
            </p:cNvPr>
            <p:cNvSpPr/>
            <p:nvPr/>
          </p:nvSpPr>
          <p:spPr>
            <a:xfrm>
              <a:off x="676204" y="2430055"/>
              <a:ext cx="63794" cy="168387"/>
            </a:xfrm>
            <a:custGeom>
              <a:avLst/>
              <a:gdLst>
                <a:gd name="connsiteX0" fmla="*/ 8797 w 63794"/>
                <a:gd name="connsiteY0" fmla="*/ 489 h 168387"/>
                <a:gd name="connsiteX1" fmla="*/ 490 w 63794"/>
                <a:gd name="connsiteY1" fmla="*/ 3681 h 168387"/>
                <a:gd name="connsiteX2" fmla="*/ 3685 w 63794"/>
                <a:gd name="connsiteY2" fmla="*/ 11980 h 168387"/>
                <a:gd name="connsiteX3" fmla="*/ 44580 w 63794"/>
                <a:gd name="connsiteY3" fmla="*/ 115401 h 168387"/>
                <a:gd name="connsiteX4" fmla="*/ 3685 w 63794"/>
                <a:gd name="connsiteY4" fmla="*/ 156258 h 168387"/>
                <a:gd name="connsiteX5" fmla="*/ 490 w 63794"/>
                <a:gd name="connsiteY5" fmla="*/ 164558 h 168387"/>
                <a:gd name="connsiteX6" fmla="*/ 490 w 63794"/>
                <a:gd name="connsiteY6" fmla="*/ 164558 h 168387"/>
                <a:gd name="connsiteX7" fmla="*/ 6241 w 63794"/>
                <a:gd name="connsiteY7" fmla="*/ 168388 h 168387"/>
                <a:gd name="connsiteX8" fmla="*/ 8797 w 63794"/>
                <a:gd name="connsiteY8" fmla="*/ 167750 h 168387"/>
                <a:gd name="connsiteX9" fmla="*/ 56082 w 63794"/>
                <a:gd name="connsiteY9" fmla="*/ 47092 h 168387"/>
                <a:gd name="connsiteX10" fmla="*/ 8797 w 63794"/>
                <a:gd name="connsiteY10" fmla="*/ 489 h 168387"/>
                <a:gd name="connsiteX11" fmla="*/ 8797 w 63794"/>
                <a:gd name="connsiteY11" fmla="*/ 489 h 16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94" h="168387">
                  <a:moveTo>
                    <a:pt x="8797" y="489"/>
                  </a:moveTo>
                  <a:cubicBezTo>
                    <a:pt x="5602" y="-788"/>
                    <a:pt x="1768" y="489"/>
                    <a:pt x="490" y="3681"/>
                  </a:cubicBezTo>
                  <a:cubicBezTo>
                    <a:pt x="-788" y="6873"/>
                    <a:pt x="490" y="10704"/>
                    <a:pt x="3685" y="11980"/>
                  </a:cubicBezTo>
                  <a:cubicBezTo>
                    <a:pt x="43302" y="29217"/>
                    <a:pt x="61833" y="75820"/>
                    <a:pt x="44580" y="115401"/>
                  </a:cubicBezTo>
                  <a:cubicBezTo>
                    <a:pt x="36912" y="133915"/>
                    <a:pt x="22216" y="147959"/>
                    <a:pt x="3685" y="156258"/>
                  </a:cubicBezTo>
                  <a:cubicBezTo>
                    <a:pt x="490" y="157535"/>
                    <a:pt x="-788" y="161366"/>
                    <a:pt x="490" y="164558"/>
                  </a:cubicBezTo>
                  <a:cubicBezTo>
                    <a:pt x="490" y="164558"/>
                    <a:pt x="490" y="164558"/>
                    <a:pt x="490" y="164558"/>
                  </a:cubicBezTo>
                  <a:cubicBezTo>
                    <a:pt x="1768" y="167111"/>
                    <a:pt x="3685" y="168388"/>
                    <a:pt x="6241" y="168388"/>
                  </a:cubicBezTo>
                  <a:cubicBezTo>
                    <a:pt x="6880" y="168388"/>
                    <a:pt x="8158" y="168388"/>
                    <a:pt x="8797" y="167750"/>
                  </a:cubicBezTo>
                  <a:cubicBezTo>
                    <a:pt x="54804" y="147321"/>
                    <a:pt x="76530" y="93695"/>
                    <a:pt x="56082" y="47092"/>
                  </a:cubicBezTo>
                  <a:cubicBezTo>
                    <a:pt x="47136" y="26664"/>
                    <a:pt x="29883" y="10065"/>
                    <a:pt x="8797" y="489"/>
                  </a:cubicBezTo>
                  <a:lnTo>
                    <a:pt x="8797" y="489"/>
                  </a:lnTo>
                  <a:close/>
                </a:path>
              </a:pathLst>
            </a:custGeom>
            <a:grpFill/>
            <a:ln w="6390" cap="flat">
              <a:noFill/>
              <a:prstDash val="solid"/>
              <a:miter/>
            </a:ln>
          </p:spPr>
          <p:txBody>
            <a:bodyPr rtlCol="0" anchor="ctr"/>
            <a:lstStyle/>
            <a:p>
              <a:endParaRPr lang="de-AT" noProof="0" dirty="0"/>
            </a:p>
          </p:txBody>
        </p:sp>
      </p:grpSp>
      <p:pic>
        <p:nvPicPr>
          <p:cNvPr id="6" name="Picture 5">
            <a:extLst>
              <a:ext uri="{FF2B5EF4-FFF2-40B4-BE49-F238E27FC236}">
                <a16:creationId xmlns:a16="http://schemas.microsoft.com/office/drawing/2014/main" id="{18808079-55FE-5659-A6DF-F7CCFF53AFC3}"/>
              </a:ext>
            </a:extLst>
          </p:cNvPr>
          <p:cNvPicPr>
            <a:picLocks noChangeAspect="1"/>
          </p:cNvPicPr>
          <p:nvPr/>
        </p:nvPicPr>
        <p:blipFill>
          <a:blip r:embed="rId8"/>
          <a:stretch>
            <a:fillRect/>
          </a:stretch>
        </p:blipFill>
        <p:spPr>
          <a:xfrm>
            <a:off x="8284884" y="5180329"/>
            <a:ext cx="1151645" cy="767763"/>
          </a:xfrm>
          <a:prstGeom prst="rect">
            <a:avLst/>
          </a:prstGeom>
        </p:spPr>
      </p:pic>
      <p:grpSp>
        <p:nvGrpSpPr>
          <p:cNvPr id="52" name="Group 51">
            <a:extLst>
              <a:ext uri="{FF2B5EF4-FFF2-40B4-BE49-F238E27FC236}">
                <a16:creationId xmlns:a16="http://schemas.microsoft.com/office/drawing/2014/main" id="{7886BB38-CF0F-5A54-D2DE-77DEE3357DAA}"/>
              </a:ext>
            </a:extLst>
          </p:cNvPr>
          <p:cNvGrpSpPr>
            <a:grpSpLocks/>
          </p:cNvGrpSpPr>
          <p:nvPr/>
        </p:nvGrpSpPr>
        <p:grpSpPr>
          <a:xfrm>
            <a:off x="4356664" y="2811850"/>
            <a:ext cx="540000" cy="540000"/>
            <a:chOff x="4342515" y="-1780242"/>
            <a:chExt cx="515413" cy="493583"/>
          </a:xfrm>
        </p:grpSpPr>
        <p:sp>
          <p:nvSpPr>
            <p:cNvPr id="53" name="Freeform 84">
              <a:extLst>
                <a:ext uri="{FF2B5EF4-FFF2-40B4-BE49-F238E27FC236}">
                  <a16:creationId xmlns:a16="http://schemas.microsoft.com/office/drawing/2014/main" id="{67C3374D-D40B-935D-CB99-917584A8A899}"/>
                </a:ext>
              </a:extLst>
            </p:cNvPr>
            <p:cNvSpPr>
              <a:spLocks noEditPoints="1"/>
            </p:cNvSpPr>
            <p:nvPr/>
          </p:nvSpPr>
          <p:spPr bwMode="auto">
            <a:xfrm>
              <a:off x="4342515" y="-1780242"/>
              <a:ext cx="515413" cy="493583"/>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55" name="Graphic 4">
              <a:extLst>
                <a:ext uri="{FF2B5EF4-FFF2-40B4-BE49-F238E27FC236}">
                  <a16:creationId xmlns:a16="http://schemas.microsoft.com/office/drawing/2014/main" id="{04C91F65-BCED-6B74-98AD-B6BC1977C221}"/>
                </a:ext>
              </a:extLst>
            </p:cNvPr>
            <p:cNvSpPr>
              <a:spLocks/>
            </p:cNvSpPr>
            <p:nvPr/>
          </p:nvSpPr>
          <p:spPr>
            <a:xfrm>
              <a:off x="4444658" y="-1689889"/>
              <a:ext cx="311126" cy="312876"/>
            </a:xfrm>
            <a:custGeom>
              <a:avLst/>
              <a:gdLst>
                <a:gd name="connsiteX0" fmla="*/ 183653 w 211596"/>
                <a:gd name="connsiteY0" fmla="*/ 45965 h 212586"/>
                <a:gd name="connsiteX1" fmla="*/ 172790 w 211596"/>
                <a:gd name="connsiteY1" fmla="*/ 47880 h 212586"/>
                <a:gd name="connsiteX2" fmla="*/ 132533 w 211596"/>
                <a:gd name="connsiteY2" fmla="*/ 24259 h 212586"/>
                <a:gd name="connsiteX3" fmla="*/ 108251 w 211596"/>
                <a:gd name="connsiteY3" fmla="*/ 0 h 212586"/>
                <a:gd name="connsiteX4" fmla="*/ 83970 w 211596"/>
                <a:gd name="connsiteY4" fmla="*/ 24259 h 212586"/>
                <a:gd name="connsiteX5" fmla="*/ 85248 w 211596"/>
                <a:gd name="connsiteY5" fmla="*/ 31281 h 212586"/>
                <a:gd name="connsiteX6" fmla="*/ 54576 w 211596"/>
                <a:gd name="connsiteY6" fmla="*/ 57456 h 212586"/>
                <a:gd name="connsiteX7" fmla="*/ 44991 w 211596"/>
                <a:gd name="connsiteY7" fmla="*/ 54902 h 212586"/>
                <a:gd name="connsiteX8" fmla="*/ 26460 w 211596"/>
                <a:gd name="connsiteY8" fmla="*/ 74693 h 212586"/>
                <a:gd name="connsiteX9" fmla="*/ 31572 w 211596"/>
                <a:gd name="connsiteY9" fmla="*/ 87461 h 212586"/>
                <a:gd name="connsiteX10" fmla="*/ 20709 w 211596"/>
                <a:gd name="connsiteY10" fmla="*/ 81715 h 212586"/>
                <a:gd name="connsiteX11" fmla="*/ 11764 w 211596"/>
                <a:gd name="connsiteY11" fmla="*/ 84269 h 212586"/>
                <a:gd name="connsiteX12" fmla="*/ 901 w 211596"/>
                <a:gd name="connsiteY12" fmla="*/ 102782 h 212586"/>
                <a:gd name="connsiteX13" fmla="*/ 3457 w 211596"/>
                <a:gd name="connsiteY13" fmla="*/ 111720 h 212586"/>
                <a:gd name="connsiteX14" fmla="*/ 12402 w 211596"/>
                <a:gd name="connsiteY14" fmla="*/ 109166 h 212586"/>
                <a:gd name="connsiteX15" fmla="*/ 20070 w 211596"/>
                <a:gd name="connsiteY15" fmla="*/ 96398 h 212586"/>
                <a:gd name="connsiteX16" fmla="*/ 35406 w 211596"/>
                <a:gd name="connsiteY16" fmla="*/ 105336 h 212586"/>
                <a:gd name="connsiteX17" fmla="*/ 27738 w 211596"/>
                <a:gd name="connsiteY17" fmla="*/ 118104 h 212586"/>
                <a:gd name="connsiteX18" fmla="*/ 30294 w 211596"/>
                <a:gd name="connsiteY18" fmla="*/ 127041 h 212586"/>
                <a:gd name="connsiteX19" fmla="*/ 33489 w 211596"/>
                <a:gd name="connsiteY19" fmla="*/ 127680 h 212586"/>
                <a:gd name="connsiteX20" fmla="*/ 39240 w 211596"/>
                <a:gd name="connsiteY20" fmla="*/ 124488 h 212586"/>
                <a:gd name="connsiteX21" fmla="*/ 49464 w 211596"/>
                <a:gd name="connsiteY21" fmla="*/ 105974 h 212586"/>
                <a:gd name="connsiteX22" fmla="*/ 46908 w 211596"/>
                <a:gd name="connsiteY22" fmla="*/ 97037 h 212586"/>
                <a:gd name="connsiteX23" fmla="*/ 39879 w 211596"/>
                <a:gd name="connsiteY23" fmla="*/ 93206 h 212586"/>
                <a:gd name="connsiteX24" fmla="*/ 44352 w 211596"/>
                <a:gd name="connsiteY24" fmla="*/ 93845 h 212586"/>
                <a:gd name="connsiteX25" fmla="*/ 63522 w 211596"/>
                <a:gd name="connsiteY25" fmla="*/ 74693 h 212586"/>
                <a:gd name="connsiteX26" fmla="*/ 62244 w 211596"/>
                <a:gd name="connsiteY26" fmla="*/ 68309 h 212586"/>
                <a:gd name="connsiteX27" fmla="*/ 91638 w 211596"/>
                <a:gd name="connsiteY27" fmla="*/ 43411 h 212586"/>
                <a:gd name="connsiteX28" fmla="*/ 126143 w 211596"/>
                <a:gd name="connsiteY28" fmla="*/ 41496 h 212586"/>
                <a:gd name="connsiteX29" fmla="*/ 128699 w 211596"/>
                <a:gd name="connsiteY29" fmla="*/ 37665 h 212586"/>
                <a:gd name="connsiteX30" fmla="*/ 161927 w 211596"/>
                <a:gd name="connsiteY30" fmla="*/ 56817 h 212586"/>
                <a:gd name="connsiteX31" fmla="*/ 155537 w 211596"/>
                <a:gd name="connsiteY31" fmla="*/ 74693 h 212586"/>
                <a:gd name="connsiteX32" fmla="*/ 165122 w 211596"/>
                <a:gd name="connsiteY32" fmla="*/ 95760 h 212586"/>
                <a:gd name="connsiteX33" fmla="*/ 126782 w 211596"/>
                <a:gd name="connsiteY33" fmla="*/ 144916 h 212586"/>
                <a:gd name="connsiteX34" fmla="*/ 82692 w 211596"/>
                <a:gd name="connsiteY34" fmla="*/ 151939 h 212586"/>
                <a:gd name="connsiteX35" fmla="*/ 89721 w 211596"/>
                <a:gd name="connsiteY35" fmla="*/ 195988 h 212586"/>
                <a:gd name="connsiteX36" fmla="*/ 96750 w 211596"/>
                <a:gd name="connsiteY36" fmla="*/ 199819 h 212586"/>
                <a:gd name="connsiteX37" fmla="*/ 63522 w 211596"/>
                <a:gd name="connsiteY37" fmla="*/ 199819 h 212586"/>
                <a:gd name="connsiteX38" fmla="*/ 57132 w 211596"/>
                <a:gd name="connsiteY38" fmla="*/ 206203 h 212586"/>
                <a:gd name="connsiteX39" fmla="*/ 63522 w 211596"/>
                <a:gd name="connsiteY39" fmla="*/ 212587 h 212586"/>
                <a:gd name="connsiteX40" fmla="*/ 153620 w 211596"/>
                <a:gd name="connsiteY40" fmla="*/ 212587 h 212586"/>
                <a:gd name="connsiteX41" fmla="*/ 160010 w 211596"/>
                <a:gd name="connsiteY41" fmla="*/ 206203 h 212586"/>
                <a:gd name="connsiteX42" fmla="*/ 153620 w 211596"/>
                <a:gd name="connsiteY42" fmla="*/ 199819 h 212586"/>
                <a:gd name="connsiteX43" fmla="*/ 119753 w 211596"/>
                <a:gd name="connsiteY43" fmla="*/ 199819 h 212586"/>
                <a:gd name="connsiteX44" fmla="*/ 137645 w 211596"/>
                <a:gd name="connsiteY44" fmla="*/ 159600 h 212586"/>
                <a:gd name="connsiteX45" fmla="*/ 135089 w 211596"/>
                <a:gd name="connsiteY45" fmla="*/ 155131 h 212586"/>
                <a:gd name="connsiteX46" fmla="*/ 175985 w 211596"/>
                <a:gd name="connsiteY46" fmla="*/ 102782 h 212586"/>
                <a:gd name="connsiteX47" fmla="*/ 210490 w 211596"/>
                <a:gd name="connsiteY47" fmla="*/ 82992 h 212586"/>
                <a:gd name="connsiteX48" fmla="*/ 190682 w 211596"/>
                <a:gd name="connsiteY48" fmla="*/ 48518 h 212586"/>
                <a:gd name="connsiteX49" fmla="*/ 183653 w 211596"/>
                <a:gd name="connsiteY49" fmla="*/ 45965 h 212586"/>
                <a:gd name="connsiteX50" fmla="*/ 183653 w 211596"/>
                <a:gd name="connsiteY50" fmla="*/ 45965 h 212586"/>
                <a:gd name="connsiteX51" fmla="*/ 108251 w 211596"/>
                <a:gd name="connsiteY51" fmla="*/ 187689 h 212586"/>
                <a:gd name="connsiteX52" fmla="*/ 89721 w 211596"/>
                <a:gd name="connsiteY52" fmla="*/ 168537 h 212586"/>
                <a:gd name="connsiteX53" fmla="*/ 108891 w 211596"/>
                <a:gd name="connsiteY53" fmla="*/ 150024 h 212586"/>
                <a:gd name="connsiteX54" fmla="*/ 127421 w 211596"/>
                <a:gd name="connsiteY54" fmla="*/ 168537 h 212586"/>
                <a:gd name="connsiteX55" fmla="*/ 108251 w 211596"/>
                <a:gd name="connsiteY55" fmla="*/ 187689 h 212586"/>
                <a:gd name="connsiteX56" fmla="*/ 108251 w 211596"/>
                <a:gd name="connsiteY56" fmla="*/ 187689 h 212586"/>
                <a:gd name="connsiteX57" fmla="*/ 44352 w 211596"/>
                <a:gd name="connsiteY57" fmla="*/ 79800 h 212586"/>
                <a:gd name="connsiteX58" fmla="*/ 36684 w 211596"/>
                <a:gd name="connsiteY58" fmla="*/ 74693 h 212586"/>
                <a:gd name="connsiteX59" fmla="*/ 41796 w 211596"/>
                <a:gd name="connsiteY59" fmla="*/ 67032 h 212586"/>
                <a:gd name="connsiteX60" fmla="*/ 44352 w 211596"/>
                <a:gd name="connsiteY60" fmla="*/ 67032 h 212586"/>
                <a:gd name="connsiteX61" fmla="*/ 49464 w 211596"/>
                <a:gd name="connsiteY61" fmla="*/ 74693 h 212586"/>
                <a:gd name="connsiteX62" fmla="*/ 44352 w 211596"/>
                <a:gd name="connsiteY62" fmla="*/ 79800 h 212586"/>
                <a:gd name="connsiteX63" fmla="*/ 108251 w 211596"/>
                <a:gd name="connsiteY63" fmla="*/ 35750 h 212586"/>
                <a:gd name="connsiteX64" fmla="*/ 96750 w 211596"/>
                <a:gd name="connsiteY64" fmla="*/ 24259 h 212586"/>
                <a:gd name="connsiteX65" fmla="*/ 108251 w 211596"/>
                <a:gd name="connsiteY65" fmla="*/ 12768 h 212586"/>
                <a:gd name="connsiteX66" fmla="*/ 119753 w 211596"/>
                <a:gd name="connsiteY66" fmla="*/ 24259 h 212586"/>
                <a:gd name="connsiteX67" fmla="*/ 108251 w 211596"/>
                <a:gd name="connsiteY67" fmla="*/ 35750 h 212586"/>
                <a:gd name="connsiteX68" fmla="*/ 108251 w 211596"/>
                <a:gd name="connsiteY68" fmla="*/ 35750 h 212586"/>
                <a:gd name="connsiteX69" fmla="*/ 183653 w 211596"/>
                <a:gd name="connsiteY69" fmla="*/ 88737 h 212586"/>
                <a:gd name="connsiteX70" fmla="*/ 168317 w 211596"/>
                <a:gd name="connsiteY70" fmla="*/ 73416 h 212586"/>
                <a:gd name="connsiteX71" fmla="*/ 183653 w 211596"/>
                <a:gd name="connsiteY71" fmla="*/ 58094 h 212586"/>
                <a:gd name="connsiteX72" fmla="*/ 198989 w 211596"/>
                <a:gd name="connsiteY72" fmla="*/ 73416 h 212586"/>
                <a:gd name="connsiteX73" fmla="*/ 198989 w 211596"/>
                <a:gd name="connsiteY73" fmla="*/ 73416 h 212586"/>
                <a:gd name="connsiteX74" fmla="*/ 183653 w 211596"/>
                <a:gd name="connsiteY74" fmla="*/ 88737 h 212586"/>
                <a:gd name="connsiteX75" fmla="*/ 183653 w 211596"/>
                <a:gd name="connsiteY75" fmla="*/ 88737 h 21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11596" h="212586">
                  <a:moveTo>
                    <a:pt x="183653" y="45965"/>
                  </a:moveTo>
                  <a:cubicBezTo>
                    <a:pt x="179819" y="45965"/>
                    <a:pt x="176624" y="46603"/>
                    <a:pt x="172790" y="47880"/>
                  </a:cubicBezTo>
                  <a:lnTo>
                    <a:pt x="132533" y="24259"/>
                  </a:lnTo>
                  <a:cubicBezTo>
                    <a:pt x="132533" y="10853"/>
                    <a:pt x="121671" y="0"/>
                    <a:pt x="108251" y="0"/>
                  </a:cubicBezTo>
                  <a:cubicBezTo>
                    <a:pt x="94833" y="0"/>
                    <a:pt x="83970" y="10853"/>
                    <a:pt x="83970" y="24259"/>
                  </a:cubicBezTo>
                  <a:cubicBezTo>
                    <a:pt x="83970" y="26813"/>
                    <a:pt x="84609" y="29366"/>
                    <a:pt x="85248" y="31281"/>
                  </a:cubicBezTo>
                  <a:lnTo>
                    <a:pt x="54576" y="57456"/>
                  </a:lnTo>
                  <a:cubicBezTo>
                    <a:pt x="51381" y="55541"/>
                    <a:pt x="48186" y="54902"/>
                    <a:pt x="44991" y="54902"/>
                  </a:cubicBezTo>
                  <a:cubicBezTo>
                    <a:pt x="34128" y="54902"/>
                    <a:pt x="25822" y="63840"/>
                    <a:pt x="26460" y="74693"/>
                  </a:cubicBezTo>
                  <a:cubicBezTo>
                    <a:pt x="26460" y="79161"/>
                    <a:pt x="28377" y="84269"/>
                    <a:pt x="31572" y="87461"/>
                  </a:cubicBezTo>
                  <a:lnTo>
                    <a:pt x="20709" y="81715"/>
                  </a:lnTo>
                  <a:cubicBezTo>
                    <a:pt x="17514" y="79800"/>
                    <a:pt x="13680" y="81077"/>
                    <a:pt x="11764" y="84269"/>
                  </a:cubicBezTo>
                  <a:lnTo>
                    <a:pt x="901" y="102782"/>
                  </a:lnTo>
                  <a:cubicBezTo>
                    <a:pt x="-1016" y="105974"/>
                    <a:pt x="262" y="109804"/>
                    <a:pt x="3457" y="111720"/>
                  </a:cubicBezTo>
                  <a:cubicBezTo>
                    <a:pt x="6652" y="113635"/>
                    <a:pt x="10486" y="112358"/>
                    <a:pt x="12402" y="109166"/>
                  </a:cubicBezTo>
                  <a:lnTo>
                    <a:pt x="20070" y="96398"/>
                  </a:lnTo>
                  <a:lnTo>
                    <a:pt x="35406" y="105336"/>
                  </a:lnTo>
                  <a:lnTo>
                    <a:pt x="27738" y="118104"/>
                  </a:lnTo>
                  <a:cubicBezTo>
                    <a:pt x="25822" y="121296"/>
                    <a:pt x="27099" y="125126"/>
                    <a:pt x="30294" y="127041"/>
                  </a:cubicBezTo>
                  <a:cubicBezTo>
                    <a:pt x="30933" y="127680"/>
                    <a:pt x="32211" y="127680"/>
                    <a:pt x="33489" y="127680"/>
                  </a:cubicBezTo>
                  <a:cubicBezTo>
                    <a:pt x="36045" y="127680"/>
                    <a:pt x="37962" y="126403"/>
                    <a:pt x="39240" y="124488"/>
                  </a:cubicBezTo>
                  <a:lnTo>
                    <a:pt x="49464" y="105974"/>
                  </a:lnTo>
                  <a:cubicBezTo>
                    <a:pt x="51381" y="102782"/>
                    <a:pt x="50103" y="98952"/>
                    <a:pt x="46908" y="97037"/>
                  </a:cubicBezTo>
                  <a:lnTo>
                    <a:pt x="39879" y="93206"/>
                  </a:lnTo>
                  <a:cubicBezTo>
                    <a:pt x="41157" y="93845"/>
                    <a:pt x="43074" y="93845"/>
                    <a:pt x="44352" y="93845"/>
                  </a:cubicBezTo>
                  <a:cubicBezTo>
                    <a:pt x="55215" y="93845"/>
                    <a:pt x="63522" y="85545"/>
                    <a:pt x="63522" y="74693"/>
                  </a:cubicBezTo>
                  <a:cubicBezTo>
                    <a:pt x="63522" y="72777"/>
                    <a:pt x="62883" y="70224"/>
                    <a:pt x="62244" y="68309"/>
                  </a:cubicBezTo>
                  <a:lnTo>
                    <a:pt x="91638" y="43411"/>
                  </a:lnTo>
                  <a:cubicBezTo>
                    <a:pt x="101223" y="52349"/>
                    <a:pt x="116558" y="51710"/>
                    <a:pt x="126143" y="41496"/>
                  </a:cubicBezTo>
                  <a:cubicBezTo>
                    <a:pt x="127421" y="40219"/>
                    <a:pt x="128061" y="38942"/>
                    <a:pt x="128699" y="37665"/>
                  </a:cubicBezTo>
                  <a:lnTo>
                    <a:pt x="161927" y="56817"/>
                  </a:lnTo>
                  <a:cubicBezTo>
                    <a:pt x="158093" y="61925"/>
                    <a:pt x="155537" y="67670"/>
                    <a:pt x="155537" y="74693"/>
                  </a:cubicBezTo>
                  <a:cubicBezTo>
                    <a:pt x="155537" y="82992"/>
                    <a:pt x="159371" y="90653"/>
                    <a:pt x="165122" y="95760"/>
                  </a:cubicBezTo>
                  <a:lnTo>
                    <a:pt x="126782" y="144916"/>
                  </a:lnTo>
                  <a:cubicBezTo>
                    <a:pt x="112725" y="134702"/>
                    <a:pt x="92916" y="137894"/>
                    <a:pt x="82692" y="151939"/>
                  </a:cubicBezTo>
                  <a:cubicBezTo>
                    <a:pt x="72468" y="165984"/>
                    <a:pt x="75663" y="185774"/>
                    <a:pt x="89721" y="195988"/>
                  </a:cubicBezTo>
                  <a:cubicBezTo>
                    <a:pt x="91638" y="197265"/>
                    <a:pt x="94194" y="198542"/>
                    <a:pt x="96750" y="199819"/>
                  </a:cubicBezTo>
                  <a:lnTo>
                    <a:pt x="63522" y="199819"/>
                  </a:lnTo>
                  <a:cubicBezTo>
                    <a:pt x="59688" y="199819"/>
                    <a:pt x="57132" y="202372"/>
                    <a:pt x="57132" y="206203"/>
                  </a:cubicBezTo>
                  <a:cubicBezTo>
                    <a:pt x="57132" y="210033"/>
                    <a:pt x="59688" y="212587"/>
                    <a:pt x="63522" y="212587"/>
                  </a:cubicBezTo>
                  <a:lnTo>
                    <a:pt x="153620" y="212587"/>
                  </a:lnTo>
                  <a:cubicBezTo>
                    <a:pt x="157454" y="212587"/>
                    <a:pt x="160010" y="210033"/>
                    <a:pt x="160010" y="206203"/>
                  </a:cubicBezTo>
                  <a:cubicBezTo>
                    <a:pt x="160010" y="202372"/>
                    <a:pt x="157454" y="199819"/>
                    <a:pt x="153620" y="199819"/>
                  </a:cubicBezTo>
                  <a:lnTo>
                    <a:pt x="119753" y="199819"/>
                  </a:lnTo>
                  <a:cubicBezTo>
                    <a:pt x="135728" y="193435"/>
                    <a:pt x="144035" y="175560"/>
                    <a:pt x="137645" y="159600"/>
                  </a:cubicBezTo>
                  <a:cubicBezTo>
                    <a:pt x="137006" y="157684"/>
                    <a:pt x="136367" y="156408"/>
                    <a:pt x="135089" y="155131"/>
                  </a:cubicBezTo>
                  <a:lnTo>
                    <a:pt x="175985" y="102782"/>
                  </a:lnTo>
                  <a:cubicBezTo>
                    <a:pt x="190682" y="106612"/>
                    <a:pt x="206017" y="97675"/>
                    <a:pt x="210490" y="82992"/>
                  </a:cubicBezTo>
                  <a:cubicBezTo>
                    <a:pt x="214964" y="68309"/>
                    <a:pt x="205379" y="52987"/>
                    <a:pt x="190682" y="48518"/>
                  </a:cubicBezTo>
                  <a:cubicBezTo>
                    <a:pt x="188765" y="45326"/>
                    <a:pt x="186209" y="45326"/>
                    <a:pt x="183653" y="45965"/>
                  </a:cubicBezTo>
                  <a:lnTo>
                    <a:pt x="183653" y="45965"/>
                  </a:lnTo>
                  <a:close/>
                  <a:moveTo>
                    <a:pt x="108251" y="187689"/>
                  </a:moveTo>
                  <a:cubicBezTo>
                    <a:pt x="98028" y="187689"/>
                    <a:pt x="89721" y="178752"/>
                    <a:pt x="89721" y="168537"/>
                  </a:cubicBezTo>
                  <a:cubicBezTo>
                    <a:pt x="89721" y="158323"/>
                    <a:pt x="98667" y="150024"/>
                    <a:pt x="108891" y="150024"/>
                  </a:cubicBezTo>
                  <a:cubicBezTo>
                    <a:pt x="119114" y="150024"/>
                    <a:pt x="127421" y="158323"/>
                    <a:pt x="127421" y="168537"/>
                  </a:cubicBezTo>
                  <a:cubicBezTo>
                    <a:pt x="127421" y="179390"/>
                    <a:pt x="119114" y="187689"/>
                    <a:pt x="108251" y="187689"/>
                  </a:cubicBezTo>
                  <a:cubicBezTo>
                    <a:pt x="108251" y="187689"/>
                    <a:pt x="108251" y="187689"/>
                    <a:pt x="108251" y="187689"/>
                  </a:cubicBezTo>
                  <a:close/>
                  <a:moveTo>
                    <a:pt x="44352" y="79800"/>
                  </a:moveTo>
                  <a:cubicBezTo>
                    <a:pt x="41157" y="80438"/>
                    <a:pt x="37323" y="78523"/>
                    <a:pt x="36684" y="74693"/>
                  </a:cubicBezTo>
                  <a:cubicBezTo>
                    <a:pt x="36045" y="71501"/>
                    <a:pt x="37962" y="67670"/>
                    <a:pt x="41796" y="67032"/>
                  </a:cubicBezTo>
                  <a:cubicBezTo>
                    <a:pt x="42435" y="67032"/>
                    <a:pt x="43713" y="67032"/>
                    <a:pt x="44352" y="67032"/>
                  </a:cubicBezTo>
                  <a:cubicBezTo>
                    <a:pt x="47547" y="67670"/>
                    <a:pt x="50103" y="71501"/>
                    <a:pt x="49464" y="74693"/>
                  </a:cubicBezTo>
                  <a:cubicBezTo>
                    <a:pt x="48825" y="77885"/>
                    <a:pt x="46908" y="79161"/>
                    <a:pt x="44352" y="79800"/>
                  </a:cubicBezTo>
                  <a:close/>
                  <a:moveTo>
                    <a:pt x="108251" y="35750"/>
                  </a:moveTo>
                  <a:cubicBezTo>
                    <a:pt x="101862" y="35750"/>
                    <a:pt x="96750" y="30643"/>
                    <a:pt x="96750" y="24259"/>
                  </a:cubicBezTo>
                  <a:cubicBezTo>
                    <a:pt x="96750" y="17875"/>
                    <a:pt x="101862" y="12768"/>
                    <a:pt x="108251" y="12768"/>
                  </a:cubicBezTo>
                  <a:cubicBezTo>
                    <a:pt x="114641" y="12768"/>
                    <a:pt x="119753" y="17875"/>
                    <a:pt x="119753" y="24259"/>
                  </a:cubicBezTo>
                  <a:cubicBezTo>
                    <a:pt x="119753" y="30643"/>
                    <a:pt x="114641" y="35750"/>
                    <a:pt x="108251" y="35750"/>
                  </a:cubicBezTo>
                  <a:lnTo>
                    <a:pt x="108251" y="35750"/>
                  </a:lnTo>
                  <a:close/>
                  <a:moveTo>
                    <a:pt x="183653" y="88737"/>
                  </a:moveTo>
                  <a:cubicBezTo>
                    <a:pt x="175346" y="88737"/>
                    <a:pt x="168317" y="81715"/>
                    <a:pt x="168317" y="73416"/>
                  </a:cubicBezTo>
                  <a:cubicBezTo>
                    <a:pt x="168317" y="65117"/>
                    <a:pt x="175346" y="58094"/>
                    <a:pt x="183653" y="58094"/>
                  </a:cubicBezTo>
                  <a:cubicBezTo>
                    <a:pt x="191960" y="58094"/>
                    <a:pt x="198989" y="65117"/>
                    <a:pt x="198989" y="73416"/>
                  </a:cubicBezTo>
                  <a:cubicBezTo>
                    <a:pt x="198989" y="73416"/>
                    <a:pt x="198989" y="73416"/>
                    <a:pt x="198989" y="73416"/>
                  </a:cubicBezTo>
                  <a:cubicBezTo>
                    <a:pt x="198989" y="82353"/>
                    <a:pt x="191960" y="88737"/>
                    <a:pt x="183653" y="88737"/>
                  </a:cubicBezTo>
                  <a:lnTo>
                    <a:pt x="183653" y="88737"/>
                  </a:lnTo>
                  <a:close/>
                </a:path>
              </a:pathLst>
            </a:custGeom>
            <a:solidFill>
              <a:schemeClr val="accent4"/>
            </a:solidFill>
            <a:ln w="6390" cap="flat">
              <a:noFill/>
              <a:prstDash val="solid"/>
              <a:miter/>
            </a:ln>
          </p:spPr>
          <p:txBody>
            <a:bodyPr rtlCol="0" anchor="ctr"/>
            <a:lstStyle/>
            <a:p>
              <a:endParaRPr lang="de-AT" noProof="0" dirty="0"/>
            </a:p>
          </p:txBody>
        </p:sp>
      </p:grpSp>
      <p:grpSp>
        <p:nvGrpSpPr>
          <p:cNvPr id="56" name="Group 55">
            <a:extLst>
              <a:ext uri="{FF2B5EF4-FFF2-40B4-BE49-F238E27FC236}">
                <a16:creationId xmlns:a16="http://schemas.microsoft.com/office/drawing/2014/main" id="{CBBFF8F4-D7C1-E574-DF78-E62B6B9CF589}"/>
              </a:ext>
            </a:extLst>
          </p:cNvPr>
          <p:cNvGrpSpPr>
            <a:grpSpLocks/>
          </p:cNvGrpSpPr>
          <p:nvPr/>
        </p:nvGrpSpPr>
        <p:grpSpPr>
          <a:xfrm>
            <a:off x="4933001" y="1680037"/>
            <a:ext cx="540000" cy="540000"/>
            <a:chOff x="4919799" y="-2926393"/>
            <a:chExt cx="518556" cy="495083"/>
          </a:xfrm>
        </p:grpSpPr>
        <p:sp>
          <p:nvSpPr>
            <p:cNvPr id="57" name="Freeform 16">
              <a:extLst>
                <a:ext uri="{FF2B5EF4-FFF2-40B4-BE49-F238E27FC236}">
                  <a16:creationId xmlns:a16="http://schemas.microsoft.com/office/drawing/2014/main" id="{3675A2F5-3907-E2A7-19CF-A82D78D75EB3}"/>
                </a:ext>
              </a:extLst>
            </p:cNvPr>
            <p:cNvSpPr>
              <a:spLocks noEditPoints="1"/>
            </p:cNvSpPr>
            <p:nvPr/>
          </p:nvSpPr>
          <p:spPr bwMode="auto">
            <a:xfrm>
              <a:off x="4919799" y="-2926393"/>
              <a:ext cx="518556" cy="495083"/>
            </a:xfrm>
            <a:custGeom>
              <a:avLst/>
              <a:gdLst>
                <a:gd name="T0" fmla="*/ 311 w 658"/>
                <a:gd name="T1" fmla="*/ 657 h 658"/>
                <a:gd name="T2" fmla="*/ 262 w 658"/>
                <a:gd name="T3" fmla="*/ 652 h 658"/>
                <a:gd name="T4" fmla="*/ 201 w 658"/>
                <a:gd name="T5" fmla="*/ 631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2 h 658"/>
                <a:gd name="T22" fmla="*/ 96 w 658"/>
                <a:gd name="T23" fmla="*/ 96 h 658"/>
                <a:gd name="T24" fmla="*/ 172 w 658"/>
                <a:gd name="T25" fmla="*/ 40 h 658"/>
                <a:gd name="T26" fmla="*/ 247 w 658"/>
                <a:gd name="T27" fmla="*/ 10 h 658"/>
                <a:gd name="T28" fmla="*/ 295 w 658"/>
                <a:gd name="T29" fmla="*/ 1 h 658"/>
                <a:gd name="T30" fmla="*/ 329 w 658"/>
                <a:gd name="T31" fmla="*/ 0 h 658"/>
                <a:gd name="T32" fmla="*/ 379 w 658"/>
                <a:gd name="T33" fmla="*/ 4 h 658"/>
                <a:gd name="T34" fmla="*/ 426 w 658"/>
                <a:gd name="T35" fmla="*/ 14 h 658"/>
                <a:gd name="T36" fmla="*/ 513 w 658"/>
                <a:gd name="T37" fmla="*/ 56 h 658"/>
                <a:gd name="T38" fmla="*/ 583 w 658"/>
                <a:gd name="T39" fmla="*/ 119 h 658"/>
                <a:gd name="T40" fmla="*/ 631 w 658"/>
                <a:gd name="T41" fmla="*/ 201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6 w 658"/>
                <a:gd name="T67" fmla="*/ 87 h 658"/>
                <a:gd name="T68" fmla="*/ 104 w 658"/>
                <a:gd name="T69" fmla="*/ 144 h 658"/>
                <a:gd name="T70" fmla="*/ 60 w 658"/>
                <a:gd name="T71" fmla="*/ 216 h 658"/>
                <a:gd name="T72" fmla="*/ 39 w 658"/>
                <a:gd name="T73" fmla="*/ 299 h 658"/>
                <a:gd name="T74" fmla="*/ 39 w 658"/>
                <a:gd name="T75" fmla="*/ 359 h 658"/>
                <a:gd name="T76" fmla="*/ 60 w 658"/>
                <a:gd name="T77" fmla="*/ 442 h 658"/>
                <a:gd name="T78" fmla="*/ 104 w 658"/>
                <a:gd name="T79" fmla="*/ 514 h 658"/>
                <a:gd name="T80" fmla="*/ 166 w 658"/>
                <a:gd name="T81" fmla="*/ 571 h 658"/>
                <a:gd name="T82" fmla="*/ 242 w 658"/>
                <a:gd name="T83" fmla="*/ 607 h 658"/>
                <a:gd name="T84" fmla="*/ 329 w 658"/>
                <a:gd name="T85" fmla="*/ 621 h 658"/>
                <a:gd name="T86" fmla="*/ 387 w 658"/>
                <a:gd name="T87" fmla="*/ 614 h 658"/>
                <a:gd name="T88" fmla="*/ 467 w 658"/>
                <a:gd name="T89" fmla="*/ 584 h 658"/>
                <a:gd name="T90" fmla="*/ 535 w 658"/>
                <a:gd name="T91" fmla="*/ 535 h 658"/>
                <a:gd name="T92" fmla="*/ 584 w 658"/>
                <a:gd name="T93" fmla="*/ 467 h 658"/>
                <a:gd name="T94" fmla="*/ 614 w 658"/>
                <a:gd name="T95" fmla="*/ 388 h 658"/>
                <a:gd name="T96" fmla="*/ 621 w 658"/>
                <a:gd name="T97" fmla="*/ 329 h 658"/>
                <a:gd name="T98" fmla="*/ 607 w 658"/>
                <a:gd name="T99" fmla="*/ 242 h 658"/>
                <a:gd name="T100" fmla="*/ 570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6"/>
                  </a:lnTo>
                  <a:lnTo>
                    <a:pt x="279" y="654"/>
                  </a:lnTo>
                  <a:lnTo>
                    <a:pt x="262" y="652"/>
                  </a:lnTo>
                  <a:lnTo>
                    <a:pt x="247" y="648"/>
                  </a:lnTo>
                  <a:lnTo>
                    <a:pt x="231" y="644"/>
                  </a:lnTo>
                  <a:lnTo>
                    <a:pt x="201" y="631"/>
                  </a:lnTo>
                  <a:lnTo>
                    <a:pt x="172" y="618"/>
                  </a:lnTo>
                  <a:lnTo>
                    <a:pt x="145" y="602"/>
                  </a:lnTo>
                  <a:lnTo>
                    <a:pt x="119" y="583"/>
                  </a:lnTo>
                  <a:lnTo>
                    <a:pt x="96" y="562"/>
                  </a:lnTo>
                  <a:lnTo>
                    <a:pt x="75" y="537"/>
                  </a:lnTo>
                  <a:lnTo>
                    <a:pt x="56" y="513"/>
                  </a:lnTo>
                  <a:lnTo>
                    <a:pt x="40" y="485"/>
                  </a:lnTo>
                  <a:lnTo>
                    <a:pt x="25" y="457"/>
                  </a:lnTo>
                  <a:lnTo>
                    <a:pt x="14" y="427"/>
                  </a:lnTo>
                  <a:lnTo>
                    <a:pt x="10" y="411"/>
                  </a:lnTo>
                  <a:lnTo>
                    <a:pt x="6" y="395"/>
                  </a:lnTo>
                  <a:lnTo>
                    <a:pt x="4" y="379"/>
                  </a:lnTo>
                  <a:lnTo>
                    <a:pt x="1" y="363"/>
                  </a:lnTo>
                  <a:lnTo>
                    <a:pt x="0" y="345"/>
                  </a:lnTo>
                  <a:lnTo>
                    <a:pt x="0" y="329"/>
                  </a:lnTo>
                  <a:lnTo>
                    <a:pt x="0" y="329"/>
                  </a:lnTo>
                  <a:lnTo>
                    <a:pt x="0" y="312"/>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2" y="40"/>
                  </a:lnTo>
                  <a:lnTo>
                    <a:pt x="201" y="25"/>
                  </a:lnTo>
                  <a:lnTo>
                    <a:pt x="231" y="14"/>
                  </a:lnTo>
                  <a:lnTo>
                    <a:pt x="247" y="10"/>
                  </a:lnTo>
                  <a:lnTo>
                    <a:pt x="262" y="6"/>
                  </a:lnTo>
                  <a:lnTo>
                    <a:pt x="279" y="4"/>
                  </a:lnTo>
                  <a:lnTo>
                    <a:pt x="295" y="1"/>
                  </a:lnTo>
                  <a:lnTo>
                    <a:pt x="311" y="0"/>
                  </a:lnTo>
                  <a:lnTo>
                    <a:pt x="329" y="0"/>
                  </a:lnTo>
                  <a:lnTo>
                    <a:pt x="329" y="0"/>
                  </a:lnTo>
                  <a:lnTo>
                    <a:pt x="345" y="0"/>
                  </a:lnTo>
                  <a:lnTo>
                    <a:pt x="363" y="1"/>
                  </a:lnTo>
                  <a:lnTo>
                    <a:pt x="379" y="4"/>
                  </a:lnTo>
                  <a:lnTo>
                    <a:pt x="395" y="6"/>
                  </a:lnTo>
                  <a:lnTo>
                    <a:pt x="411" y="10"/>
                  </a:lnTo>
                  <a:lnTo>
                    <a:pt x="426" y="14"/>
                  </a:lnTo>
                  <a:lnTo>
                    <a:pt x="457" y="25"/>
                  </a:lnTo>
                  <a:lnTo>
                    <a:pt x="485" y="40"/>
                  </a:lnTo>
                  <a:lnTo>
                    <a:pt x="513" y="56"/>
                  </a:lnTo>
                  <a:lnTo>
                    <a:pt x="537" y="75"/>
                  </a:lnTo>
                  <a:lnTo>
                    <a:pt x="561" y="96"/>
                  </a:lnTo>
                  <a:lnTo>
                    <a:pt x="583" y="119"/>
                  </a:lnTo>
                  <a:lnTo>
                    <a:pt x="602" y="145"/>
                  </a:lnTo>
                  <a:lnTo>
                    <a:pt x="618" y="172"/>
                  </a:lnTo>
                  <a:lnTo>
                    <a:pt x="631" y="201"/>
                  </a:lnTo>
                  <a:lnTo>
                    <a:pt x="643" y="231"/>
                  </a:lnTo>
                  <a:lnTo>
                    <a:pt x="647" y="247"/>
                  </a:lnTo>
                  <a:lnTo>
                    <a:pt x="651" y="263"/>
                  </a:lnTo>
                  <a:lnTo>
                    <a:pt x="654" y="279"/>
                  </a:lnTo>
                  <a:lnTo>
                    <a:pt x="656" y="295"/>
                  </a:lnTo>
                  <a:lnTo>
                    <a:pt x="657" y="312"/>
                  </a:lnTo>
                  <a:lnTo>
                    <a:pt x="658" y="329"/>
                  </a:lnTo>
                  <a:lnTo>
                    <a:pt x="658" y="329"/>
                  </a:lnTo>
                  <a:lnTo>
                    <a:pt x="657" y="345"/>
                  </a:lnTo>
                  <a:lnTo>
                    <a:pt x="656" y="363"/>
                  </a:lnTo>
                  <a:lnTo>
                    <a:pt x="654" y="379"/>
                  </a:lnTo>
                  <a:lnTo>
                    <a:pt x="651" y="395"/>
                  </a:lnTo>
                  <a:lnTo>
                    <a:pt x="647" y="411"/>
                  </a:lnTo>
                  <a:lnTo>
                    <a:pt x="643" y="427"/>
                  </a:lnTo>
                  <a:lnTo>
                    <a:pt x="631" y="457"/>
                  </a:lnTo>
                  <a:lnTo>
                    <a:pt x="618" y="485"/>
                  </a:lnTo>
                  <a:lnTo>
                    <a:pt x="602" y="513"/>
                  </a:lnTo>
                  <a:lnTo>
                    <a:pt x="583" y="537"/>
                  </a:lnTo>
                  <a:lnTo>
                    <a:pt x="561"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7"/>
                  </a:moveTo>
                  <a:lnTo>
                    <a:pt x="329" y="37"/>
                  </a:lnTo>
                  <a:lnTo>
                    <a:pt x="299" y="39"/>
                  </a:lnTo>
                  <a:lnTo>
                    <a:pt x="270" y="44"/>
                  </a:lnTo>
                  <a:lnTo>
                    <a:pt x="242" y="51"/>
                  </a:lnTo>
                  <a:lnTo>
                    <a:pt x="215" y="60"/>
                  </a:lnTo>
                  <a:lnTo>
                    <a:pt x="191" y="72"/>
                  </a:lnTo>
                  <a:lnTo>
                    <a:pt x="166" y="87"/>
                  </a:lnTo>
                  <a:lnTo>
                    <a:pt x="143" y="105"/>
                  </a:lnTo>
                  <a:lnTo>
                    <a:pt x="123" y="123"/>
                  </a:lnTo>
                  <a:lnTo>
                    <a:pt x="104" y="144"/>
                  </a:lnTo>
                  <a:lnTo>
                    <a:pt x="87" y="166"/>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2"/>
                  </a:lnTo>
                  <a:lnTo>
                    <a:pt x="104" y="514"/>
                  </a:lnTo>
                  <a:lnTo>
                    <a:pt x="123" y="535"/>
                  </a:lnTo>
                  <a:lnTo>
                    <a:pt x="143" y="553"/>
                  </a:lnTo>
                  <a:lnTo>
                    <a:pt x="166" y="571"/>
                  </a:lnTo>
                  <a:lnTo>
                    <a:pt x="191"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7" y="584"/>
                  </a:lnTo>
                  <a:lnTo>
                    <a:pt x="492" y="571"/>
                  </a:lnTo>
                  <a:lnTo>
                    <a:pt x="514" y="553"/>
                  </a:lnTo>
                  <a:lnTo>
                    <a:pt x="535" y="535"/>
                  </a:lnTo>
                  <a:lnTo>
                    <a:pt x="553" y="514"/>
                  </a:lnTo>
                  <a:lnTo>
                    <a:pt x="570" y="492"/>
                  </a:lnTo>
                  <a:lnTo>
                    <a:pt x="584" y="467"/>
                  </a:lnTo>
                  <a:lnTo>
                    <a:pt x="596" y="442"/>
                  </a:lnTo>
                  <a:lnTo>
                    <a:pt x="607" y="415"/>
                  </a:lnTo>
                  <a:lnTo>
                    <a:pt x="614" y="388"/>
                  </a:lnTo>
                  <a:lnTo>
                    <a:pt x="618" y="359"/>
                  </a:lnTo>
                  <a:lnTo>
                    <a:pt x="621" y="329"/>
                  </a:lnTo>
                  <a:lnTo>
                    <a:pt x="621" y="329"/>
                  </a:lnTo>
                  <a:lnTo>
                    <a:pt x="618" y="299"/>
                  </a:lnTo>
                  <a:lnTo>
                    <a:pt x="614" y="270"/>
                  </a:lnTo>
                  <a:lnTo>
                    <a:pt x="607" y="242"/>
                  </a:lnTo>
                  <a:lnTo>
                    <a:pt x="596" y="216"/>
                  </a:lnTo>
                  <a:lnTo>
                    <a:pt x="584" y="191"/>
                  </a:lnTo>
                  <a:lnTo>
                    <a:pt x="570" y="166"/>
                  </a:lnTo>
                  <a:lnTo>
                    <a:pt x="553" y="144"/>
                  </a:lnTo>
                  <a:lnTo>
                    <a:pt x="535" y="123"/>
                  </a:lnTo>
                  <a:lnTo>
                    <a:pt x="514" y="105"/>
                  </a:lnTo>
                  <a:lnTo>
                    <a:pt x="492" y="87"/>
                  </a:lnTo>
                  <a:lnTo>
                    <a:pt x="467" y="72"/>
                  </a:lnTo>
                  <a:lnTo>
                    <a:pt x="442" y="60"/>
                  </a:lnTo>
                  <a:lnTo>
                    <a:pt x="415" y="51"/>
                  </a:lnTo>
                  <a:lnTo>
                    <a:pt x="387" y="44"/>
                  </a:lnTo>
                  <a:lnTo>
                    <a:pt x="359" y="39"/>
                  </a:lnTo>
                  <a:lnTo>
                    <a:pt x="329" y="37"/>
                  </a:lnTo>
                  <a:lnTo>
                    <a:pt x="329" y="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sp>
          <p:nvSpPr>
            <p:cNvPr id="58" name="Graphic 4">
              <a:extLst>
                <a:ext uri="{FF2B5EF4-FFF2-40B4-BE49-F238E27FC236}">
                  <a16:creationId xmlns:a16="http://schemas.microsoft.com/office/drawing/2014/main" id="{00EF445D-F522-5A69-BFB6-49EAC7EF94C6}"/>
                </a:ext>
              </a:extLst>
            </p:cNvPr>
            <p:cNvSpPr>
              <a:spLocks/>
            </p:cNvSpPr>
            <p:nvPr/>
          </p:nvSpPr>
          <p:spPr>
            <a:xfrm>
              <a:off x="5025473" y="-2832455"/>
              <a:ext cx="307207" cy="307208"/>
            </a:xfrm>
            <a:custGeom>
              <a:avLst/>
              <a:gdLst>
                <a:gd name="connsiteX0" fmla="*/ 192976 w 205755"/>
                <a:gd name="connsiteY0" fmla="*/ 130872 h 205564"/>
                <a:gd name="connsiteX1" fmla="*/ 137384 w 205755"/>
                <a:gd name="connsiteY1" fmla="*/ 130872 h 205564"/>
                <a:gd name="connsiteX2" fmla="*/ 130994 w 205755"/>
                <a:gd name="connsiteY2" fmla="*/ 137256 h 205564"/>
                <a:gd name="connsiteX3" fmla="*/ 130994 w 205755"/>
                <a:gd name="connsiteY3" fmla="*/ 192796 h 205564"/>
                <a:gd name="connsiteX4" fmla="*/ 74762 w 205755"/>
                <a:gd name="connsiteY4" fmla="*/ 192796 h 205564"/>
                <a:gd name="connsiteX5" fmla="*/ 74762 w 205755"/>
                <a:gd name="connsiteY5" fmla="*/ 137256 h 205564"/>
                <a:gd name="connsiteX6" fmla="*/ 68372 w 205755"/>
                <a:gd name="connsiteY6" fmla="*/ 130872 h 205564"/>
                <a:gd name="connsiteX7" fmla="*/ 12780 w 205755"/>
                <a:gd name="connsiteY7" fmla="*/ 130872 h 205564"/>
                <a:gd name="connsiteX8" fmla="*/ 12780 w 205755"/>
                <a:gd name="connsiteY8" fmla="*/ 74693 h 205564"/>
                <a:gd name="connsiteX9" fmla="*/ 68372 w 205755"/>
                <a:gd name="connsiteY9" fmla="*/ 74693 h 205564"/>
                <a:gd name="connsiteX10" fmla="*/ 74762 w 205755"/>
                <a:gd name="connsiteY10" fmla="*/ 68309 h 205564"/>
                <a:gd name="connsiteX11" fmla="*/ 74762 w 205755"/>
                <a:gd name="connsiteY11" fmla="*/ 12768 h 205564"/>
                <a:gd name="connsiteX12" fmla="*/ 130994 w 205755"/>
                <a:gd name="connsiteY12" fmla="*/ 12768 h 205564"/>
                <a:gd name="connsiteX13" fmla="*/ 130994 w 205755"/>
                <a:gd name="connsiteY13" fmla="*/ 68309 h 205564"/>
                <a:gd name="connsiteX14" fmla="*/ 137384 w 205755"/>
                <a:gd name="connsiteY14" fmla="*/ 74693 h 205564"/>
                <a:gd name="connsiteX15" fmla="*/ 192976 w 205755"/>
                <a:gd name="connsiteY15" fmla="*/ 74693 h 205564"/>
                <a:gd name="connsiteX16" fmla="*/ 192976 w 205755"/>
                <a:gd name="connsiteY16" fmla="*/ 130872 h 205564"/>
                <a:gd name="connsiteX17" fmla="*/ 199366 w 205755"/>
                <a:gd name="connsiteY17" fmla="*/ 61925 h 205564"/>
                <a:gd name="connsiteX18" fmla="*/ 143774 w 205755"/>
                <a:gd name="connsiteY18" fmla="*/ 61925 h 205564"/>
                <a:gd name="connsiteX19" fmla="*/ 143774 w 205755"/>
                <a:gd name="connsiteY19" fmla="*/ 6384 h 205564"/>
                <a:gd name="connsiteX20" fmla="*/ 137384 w 205755"/>
                <a:gd name="connsiteY20" fmla="*/ 0 h 205564"/>
                <a:gd name="connsiteX21" fmla="*/ 68372 w 205755"/>
                <a:gd name="connsiteY21" fmla="*/ 0 h 205564"/>
                <a:gd name="connsiteX22" fmla="*/ 61982 w 205755"/>
                <a:gd name="connsiteY22" fmla="*/ 6384 h 205564"/>
                <a:gd name="connsiteX23" fmla="*/ 61982 w 205755"/>
                <a:gd name="connsiteY23" fmla="*/ 61925 h 205564"/>
                <a:gd name="connsiteX24" fmla="*/ 6390 w 205755"/>
                <a:gd name="connsiteY24" fmla="*/ 61925 h 205564"/>
                <a:gd name="connsiteX25" fmla="*/ 0 w 205755"/>
                <a:gd name="connsiteY25" fmla="*/ 68309 h 205564"/>
                <a:gd name="connsiteX26" fmla="*/ 0 w 205755"/>
                <a:gd name="connsiteY26" fmla="*/ 137256 h 205564"/>
                <a:gd name="connsiteX27" fmla="*/ 6390 w 205755"/>
                <a:gd name="connsiteY27" fmla="*/ 143640 h 205564"/>
                <a:gd name="connsiteX28" fmla="*/ 61982 w 205755"/>
                <a:gd name="connsiteY28" fmla="*/ 143640 h 205564"/>
                <a:gd name="connsiteX29" fmla="*/ 61982 w 205755"/>
                <a:gd name="connsiteY29" fmla="*/ 199180 h 205564"/>
                <a:gd name="connsiteX30" fmla="*/ 68372 w 205755"/>
                <a:gd name="connsiteY30" fmla="*/ 205564 h 205564"/>
                <a:gd name="connsiteX31" fmla="*/ 137384 w 205755"/>
                <a:gd name="connsiteY31" fmla="*/ 205564 h 205564"/>
                <a:gd name="connsiteX32" fmla="*/ 143774 w 205755"/>
                <a:gd name="connsiteY32" fmla="*/ 199180 h 205564"/>
                <a:gd name="connsiteX33" fmla="*/ 143774 w 205755"/>
                <a:gd name="connsiteY33" fmla="*/ 143640 h 205564"/>
                <a:gd name="connsiteX34" fmla="*/ 199366 w 205755"/>
                <a:gd name="connsiteY34" fmla="*/ 143640 h 205564"/>
                <a:gd name="connsiteX35" fmla="*/ 205756 w 205755"/>
                <a:gd name="connsiteY35" fmla="*/ 137256 h 205564"/>
                <a:gd name="connsiteX36" fmla="*/ 205756 w 205755"/>
                <a:gd name="connsiteY36" fmla="*/ 68309 h 205564"/>
                <a:gd name="connsiteX37" fmla="*/ 199366 w 205755"/>
                <a:gd name="connsiteY37" fmla="*/ 61925 h 20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5755" h="205564">
                  <a:moveTo>
                    <a:pt x="192976" y="130872"/>
                  </a:moveTo>
                  <a:lnTo>
                    <a:pt x="137384" y="130872"/>
                  </a:lnTo>
                  <a:cubicBezTo>
                    <a:pt x="133550" y="130872"/>
                    <a:pt x="130994" y="133425"/>
                    <a:pt x="130994" y="137256"/>
                  </a:cubicBezTo>
                  <a:lnTo>
                    <a:pt x="130994" y="192796"/>
                  </a:lnTo>
                  <a:lnTo>
                    <a:pt x="74762" y="192796"/>
                  </a:lnTo>
                  <a:lnTo>
                    <a:pt x="74762" y="137256"/>
                  </a:lnTo>
                  <a:cubicBezTo>
                    <a:pt x="74762" y="133425"/>
                    <a:pt x="72207" y="130872"/>
                    <a:pt x="68372" y="130872"/>
                  </a:cubicBezTo>
                  <a:lnTo>
                    <a:pt x="12780" y="130872"/>
                  </a:lnTo>
                  <a:lnTo>
                    <a:pt x="12780" y="74693"/>
                  </a:lnTo>
                  <a:lnTo>
                    <a:pt x="68372" y="74693"/>
                  </a:lnTo>
                  <a:cubicBezTo>
                    <a:pt x="72207" y="74693"/>
                    <a:pt x="74762" y="72139"/>
                    <a:pt x="74762" y="68309"/>
                  </a:cubicBezTo>
                  <a:lnTo>
                    <a:pt x="74762" y="12768"/>
                  </a:lnTo>
                  <a:lnTo>
                    <a:pt x="130994" y="12768"/>
                  </a:lnTo>
                  <a:lnTo>
                    <a:pt x="130994" y="68309"/>
                  </a:lnTo>
                  <a:cubicBezTo>
                    <a:pt x="130994" y="72139"/>
                    <a:pt x="133550" y="74693"/>
                    <a:pt x="137384" y="74693"/>
                  </a:cubicBezTo>
                  <a:lnTo>
                    <a:pt x="192976" y="74693"/>
                  </a:lnTo>
                  <a:lnTo>
                    <a:pt x="192976" y="130872"/>
                  </a:lnTo>
                  <a:close/>
                  <a:moveTo>
                    <a:pt x="199366" y="61925"/>
                  </a:moveTo>
                  <a:lnTo>
                    <a:pt x="143774" y="61925"/>
                  </a:lnTo>
                  <a:lnTo>
                    <a:pt x="143774" y="6384"/>
                  </a:lnTo>
                  <a:cubicBezTo>
                    <a:pt x="143774" y="2554"/>
                    <a:pt x="141217" y="0"/>
                    <a:pt x="137384" y="0"/>
                  </a:cubicBezTo>
                  <a:lnTo>
                    <a:pt x="68372" y="0"/>
                  </a:lnTo>
                  <a:cubicBezTo>
                    <a:pt x="64538" y="0"/>
                    <a:pt x="61982" y="2554"/>
                    <a:pt x="61982" y="6384"/>
                  </a:cubicBezTo>
                  <a:lnTo>
                    <a:pt x="61982" y="61925"/>
                  </a:lnTo>
                  <a:lnTo>
                    <a:pt x="6390" y="61925"/>
                  </a:lnTo>
                  <a:cubicBezTo>
                    <a:pt x="2556" y="61925"/>
                    <a:pt x="0" y="64478"/>
                    <a:pt x="0" y="68309"/>
                  </a:cubicBezTo>
                  <a:lnTo>
                    <a:pt x="0" y="137256"/>
                  </a:lnTo>
                  <a:cubicBezTo>
                    <a:pt x="0" y="141086"/>
                    <a:pt x="2556" y="143640"/>
                    <a:pt x="6390" y="143640"/>
                  </a:cubicBezTo>
                  <a:lnTo>
                    <a:pt x="61982" y="143640"/>
                  </a:lnTo>
                  <a:lnTo>
                    <a:pt x="61982" y="199180"/>
                  </a:lnTo>
                  <a:cubicBezTo>
                    <a:pt x="61982" y="203011"/>
                    <a:pt x="64538" y="205564"/>
                    <a:pt x="68372" y="205564"/>
                  </a:cubicBezTo>
                  <a:lnTo>
                    <a:pt x="137384" y="205564"/>
                  </a:lnTo>
                  <a:cubicBezTo>
                    <a:pt x="141217" y="205564"/>
                    <a:pt x="143774" y="203011"/>
                    <a:pt x="143774" y="199180"/>
                  </a:cubicBezTo>
                  <a:lnTo>
                    <a:pt x="143774" y="143640"/>
                  </a:lnTo>
                  <a:lnTo>
                    <a:pt x="199366" y="143640"/>
                  </a:lnTo>
                  <a:cubicBezTo>
                    <a:pt x="203200" y="143640"/>
                    <a:pt x="205756" y="141086"/>
                    <a:pt x="205756" y="137256"/>
                  </a:cubicBezTo>
                  <a:lnTo>
                    <a:pt x="205756" y="68309"/>
                  </a:lnTo>
                  <a:cubicBezTo>
                    <a:pt x="205756" y="65117"/>
                    <a:pt x="203200" y="61925"/>
                    <a:pt x="199366" y="61925"/>
                  </a:cubicBezTo>
                </a:path>
              </a:pathLst>
            </a:custGeom>
            <a:solidFill>
              <a:schemeClr val="bg2"/>
            </a:solidFill>
            <a:ln w="6390" cap="flat">
              <a:noFill/>
              <a:prstDash val="solid"/>
              <a:miter/>
            </a:ln>
          </p:spPr>
          <p:txBody>
            <a:bodyPr rtlCol="0" anchor="ctr"/>
            <a:lstStyle/>
            <a:p>
              <a:endParaRPr lang="de-AT" noProof="0" dirty="0"/>
            </a:p>
          </p:txBody>
        </p:sp>
      </p:grpSp>
      <p:grpSp>
        <p:nvGrpSpPr>
          <p:cNvPr id="158" name="Group 157">
            <a:extLst>
              <a:ext uri="{FF2B5EF4-FFF2-40B4-BE49-F238E27FC236}">
                <a16:creationId xmlns:a16="http://schemas.microsoft.com/office/drawing/2014/main" id="{30F19DB2-EBB3-7E3F-F35B-54FEFDC8CB9F}"/>
              </a:ext>
            </a:extLst>
          </p:cNvPr>
          <p:cNvGrpSpPr>
            <a:grpSpLocks/>
          </p:cNvGrpSpPr>
          <p:nvPr/>
        </p:nvGrpSpPr>
        <p:grpSpPr>
          <a:xfrm>
            <a:off x="6688146" y="1703139"/>
            <a:ext cx="540001" cy="540000"/>
            <a:chOff x="10460665" y="-193878"/>
            <a:chExt cx="671039" cy="670413"/>
          </a:xfrm>
        </p:grpSpPr>
        <p:grpSp>
          <p:nvGrpSpPr>
            <p:cNvPr id="137" name="Group 136">
              <a:extLst>
                <a:ext uri="{FF2B5EF4-FFF2-40B4-BE49-F238E27FC236}">
                  <a16:creationId xmlns:a16="http://schemas.microsoft.com/office/drawing/2014/main" id="{005D8218-034F-C2F8-C44A-07159E92C768}"/>
                </a:ext>
              </a:extLst>
            </p:cNvPr>
            <p:cNvGrpSpPr>
              <a:grpSpLocks/>
            </p:cNvGrpSpPr>
            <p:nvPr/>
          </p:nvGrpSpPr>
          <p:grpSpPr>
            <a:xfrm>
              <a:off x="10587417" y="-65363"/>
              <a:ext cx="417536" cy="413382"/>
              <a:chOff x="11011023" y="546949"/>
              <a:chExt cx="417536" cy="413382"/>
            </a:xfrm>
          </p:grpSpPr>
          <p:sp>
            <p:nvSpPr>
              <p:cNvPr id="138" name="Graphic 1039">
                <a:extLst>
                  <a:ext uri="{FF2B5EF4-FFF2-40B4-BE49-F238E27FC236}">
                    <a16:creationId xmlns:a16="http://schemas.microsoft.com/office/drawing/2014/main" id="{5DE15F6B-163D-8126-F8C9-3937646CF30F}"/>
                  </a:ext>
                </a:extLst>
              </p:cNvPr>
              <p:cNvSpPr/>
              <p:nvPr/>
            </p:nvSpPr>
            <p:spPr>
              <a:xfrm>
                <a:off x="11055275" y="609242"/>
                <a:ext cx="373284" cy="264623"/>
              </a:xfrm>
              <a:custGeom>
                <a:avLst/>
                <a:gdLst>
                  <a:gd name="connsiteX0" fmla="*/ 192337 w 201544"/>
                  <a:gd name="connsiteY0" fmla="*/ 900 h 142624"/>
                  <a:gd name="connsiteX1" fmla="*/ 166777 w 201544"/>
                  <a:gd name="connsiteY1" fmla="*/ 14945 h 142624"/>
                  <a:gd name="connsiteX2" fmla="*/ 163582 w 201544"/>
                  <a:gd name="connsiteY2" fmla="*/ 19413 h 142624"/>
                  <a:gd name="connsiteX3" fmla="*/ 141217 w 201544"/>
                  <a:gd name="connsiteY3" fmla="*/ 129218 h 142624"/>
                  <a:gd name="connsiteX4" fmla="*/ 6390 w 201544"/>
                  <a:gd name="connsiteY4" fmla="*/ 129856 h 142624"/>
                  <a:gd name="connsiteX5" fmla="*/ 0 w 201544"/>
                  <a:gd name="connsiteY5" fmla="*/ 136240 h 142624"/>
                  <a:gd name="connsiteX6" fmla="*/ 6390 w 201544"/>
                  <a:gd name="connsiteY6" fmla="*/ 142624 h 142624"/>
                  <a:gd name="connsiteX7" fmla="*/ 6390 w 201544"/>
                  <a:gd name="connsiteY7" fmla="*/ 142624 h 142624"/>
                  <a:gd name="connsiteX8" fmla="*/ 146329 w 201544"/>
                  <a:gd name="connsiteY8" fmla="*/ 141986 h 142624"/>
                  <a:gd name="connsiteX9" fmla="*/ 152719 w 201544"/>
                  <a:gd name="connsiteY9" fmla="*/ 136879 h 142624"/>
                  <a:gd name="connsiteX10" fmla="*/ 175084 w 201544"/>
                  <a:gd name="connsiteY10" fmla="*/ 24521 h 142624"/>
                  <a:gd name="connsiteX11" fmla="*/ 198088 w 201544"/>
                  <a:gd name="connsiteY11" fmla="*/ 12391 h 142624"/>
                  <a:gd name="connsiteX12" fmla="*/ 200644 w 201544"/>
                  <a:gd name="connsiteY12" fmla="*/ 3453 h 142624"/>
                  <a:gd name="connsiteX13" fmla="*/ 192337 w 201544"/>
                  <a:gd name="connsiteY13" fmla="*/ 900 h 14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544" h="142624">
                    <a:moveTo>
                      <a:pt x="192337" y="900"/>
                    </a:moveTo>
                    <a:lnTo>
                      <a:pt x="166777" y="14945"/>
                    </a:lnTo>
                    <a:cubicBezTo>
                      <a:pt x="164860" y="15583"/>
                      <a:pt x="164221" y="17498"/>
                      <a:pt x="163582" y="19413"/>
                    </a:cubicBezTo>
                    <a:lnTo>
                      <a:pt x="141217" y="129218"/>
                    </a:lnTo>
                    <a:lnTo>
                      <a:pt x="6390" y="129856"/>
                    </a:lnTo>
                    <a:cubicBezTo>
                      <a:pt x="2556" y="129856"/>
                      <a:pt x="0" y="133048"/>
                      <a:pt x="0" y="136240"/>
                    </a:cubicBezTo>
                    <a:cubicBezTo>
                      <a:pt x="0" y="140071"/>
                      <a:pt x="3195" y="142624"/>
                      <a:pt x="6390" y="142624"/>
                    </a:cubicBezTo>
                    <a:cubicBezTo>
                      <a:pt x="6390" y="142624"/>
                      <a:pt x="6390" y="142624"/>
                      <a:pt x="6390" y="142624"/>
                    </a:cubicBezTo>
                    <a:lnTo>
                      <a:pt x="146329" y="141986"/>
                    </a:lnTo>
                    <a:cubicBezTo>
                      <a:pt x="149524" y="141986"/>
                      <a:pt x="152080" y="140071"/>
                      <a:pt x="152719" y="136879"/>
                    </a:cubicBezTo>
                    <a:lnTo>
                      <a:pt x="175084" y="24521"/>
                    </a:lnTo>
                    <a:lnTo>
                      <a:pt x="198088" y="12391"/>
                    </a:lnTo>
                    <a:cubicBezTo>
                      <a:pt x="201283" y="10476"/>
                      <a:pt x="202561" y="6645"/>
                      <a:pt x="200644" y="3453"/>
                    </a:cubicBezTo>
                    <a:cubicBezTo>
                      <a:pt x="199366" y="261"/>
                      <a:pt x="195532" y="-1015"/>
                      <a:pt x="192337" y="900"/>
                    </a:cubicBezTo>
                    <a:close/>
                  </a:path>
                </a:pathLst>
              </a:custGeom>
              <a:solidFill>
                <a:schemeClr val="accent6"/>
              </a:solidFill>
              <a:ln w="6390" cap="flat">
                <a:noFill/>
                <a:prstDash val="solid"/>
                <a:miter/>
              </a:ln>
            </p:spPr>
            <p:txBody>
              <a:bodyPr rtlCol="0" anchor="ctr"/>
              <a:lstStyle/>
              <a:p>
                <a:endParaRPr lang="de-AT" noProof="0" dirty="0"/>
              </a:p>
            </p:txBody>
          </p:sp>
          <p:sp>
            <p:nvSpPr>
              <p:cNvPr id="146" name="Graphic 1039">
                <a:extLst>
                  <a:ext uri="{FF2B5EF4-FFF2-40B4-BE49-F238E27FC236}">
                    <a16:creationId xmlns:a16="http://schemas.microsoft.com/office/drawing/2014/main" id="{1C74D4FD-8FE8-4E38-5476-953CCA10E126}"/>
                  </a:ext>
                </a:extLst>
              </p:cNvPr>
              <p:cNvSpPr/>
              <p:nvPr/>
            </p:nvSpPr>
            <p:spPr>
              <a:xfrm>
                <a:off x="11011023" y="677242"/>
                <a:ext cx="270300" cy="140952"/>
              </a:xfrm>
              <a:custGeom>
                <a:avLst/>
                <a:gdLst>
                  <a:gd name="connsiteX0" fmla="*/ 145941 w 145941"/>
                  <a:gd name="connsiteY0" fmla="*/ 68947 h 75969"/>
                  <a:gd name="connsiteX1" fmla="*/ 139551 w 145941"/>
                  <a:gd name="connsiteY1" fmla="*/ 62563 h 75969"/>
                  <a:gd name="connsiteX2" fmla="*/ 27088 w 145941"/>
                  <a:gd name="connsiteY2" fmla="*/ 62563 h 75969"/>
                  <a:gd name="connsiteX3" fmla="*/ 14947 w 145941"/>
                  <a:gd name="connsiteY3" fmla="*/ 12768 h 75969"/>
                  <a:gd name="connsiteX4" fmla="*/ 53926 w 145941"/>
                  <a:gd name="connsiteY4" fmla="*/ 12768 h 75969"/>
                  <a:gd name="connsiteX5" fmla="*/ 60316 w 145941"/>
                  <a:gd name="connsiteY5" fmla="*/ 6384 h 75969"/>
                  <a:gd name="connsiteX6" fmla="*/ 53926 w 145941"/>
                  <a:gd name="connsiteY6" fmla="*/ 0 h 75969"/>
                  <a:gd name="connsiteX7" fmla="*/ 6641 w 145941"/>
                  <a:gd name="connsiteY7" fmla="*/ 0 h 75969"/>
                  <a:gd name="connsiteX8" fmla="*/ 1529 w 145941"/>
                  <a:gd name="connsiteY8" fmla="*/ 2554 h 75969"/>
                  <a:gd name="connsiteX9" fmla="*/ 251 w 145941"/>
                  <a:gd name="connsiteY9" fmla="*/ 8299 h 75969"/>
                  <a:gd name="connsiteX10" fmla="*/ 15587 w 145941"/>
                  <a:gd name="connsiteY10" fmla="*/ 70862 h 75969"/>
                  <a:gd name="connsiteX11" fmla="*/ 21977 w 145941"/>
                  <a:gd name="connsiteY11" fmla="*/ 75969 h 75969"/>
                  <a:gd name="connsiteX12" fmla="*/ 139551 w 145941"/>
                  <a:gd name="connsiteY12" fmla="*/ 75969 h 75969"/>
                  <a:gd name="connsiteX13" fmla="*/ 145941 w 145941"/>
                  <a:gd name="connsiteY13" fmla="*/ 68947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941" h="75969">
                    <a:moveTo>
                      <a:pt x="145941" y="68947"/>
                    </a:moveTo>
                    <a:cubicBezTo>
                      <a:pt x="145941" y="65117"/>
                      <a:pt x="143385" y="62563"/>
                      <a:pt x="139551" y="62563"/>
                    </a:cubicBezTo>
                    <a:lnTo>
                      <a:pt x="27088" y="62563"/>
                    </a:lnTo>
                    <a:lnTo>
                      <a:pt x="14947" y="12768"/>
                    </a:lnTo>
                    <a:lnTo>
                      <a:pt x="53926" y="12768"/>
                    </a:lnTo>
                    <a:cubicBezTo>
                      <a:pt x="57760" y="12768"/>
                      <a:pt x="60316" y="10214"/>
                      <a:pt x="60316" y="6384"/>
                    </a:cubicBezTo>
                    <a:cubicBezTo>
                      <a:pt x="60316" y="2554"/>
                      <a:pt x="57760" y="0"/>
                      <a:pt x="53926" y="0"/>
                    </a:cubicBezTo>
                    <a:lnTo>
                      <a:pt x="6641" y="0"/>
                    </a:lnTo>
                    <a:cubicBezTo>
                      <a:pt x="4724" y="0"/>
                      <a:pt x="2807" y="638"/>
                      <a:pt x="1529" y="2554"/>
                    </a:cubicBezTo>
                    <a:cubicBezTo>
                      <a:pt x="251" y="3830"/>
                      <a:pt x="-388" y="6384"/>
                      <a:pt x="251" y="8299"/>
                    </a:cubicBezTo>
                    <a:lnTo>
                      <a:pt x="15587" y="70862"/>
                    </a:lnTo>
                    <a:cubicBezTo>
                      <a:pt x="16225" y="74054"/>
                      <a:pt x="18782" y="75969"/>
                      <a:pt x="21977" y="75969"/>
                    </a:cubicBezTo>
                    <a:lnTo>
                      <a:pt x="139551" y="75969"/>
                    </a:lnTo>
                    <a:cubicBezTo>
                      <a:pt x="143385" y="75331"/>
                      <a:pt x="145941" y="72139"/>
                      <a:pt x="145941" y="68947"/>
                    </a:cubicBezTo>
                    <a:close/>
                  </a:path>
                </a:pathLst>
              </a:custGeom>
              <a:solidFill>
                <a:schemeClr val="accent6"/>
              </a:solidFill>
              <a:ln w="6390" cap="flat">
                <a:noFill/>
                <a:prstDash val="solid"/>
                <a:miter/>
              </a:ln>
            </p:spPr>
            <p:txBody>
              <a:bodyPr rtlCol="0" anchor="ctr"/>
              <a:lstStyle/>
              <a:p>
                <a:endParaRPr lang="de-AT" noProof="0" dirty="0"/>
              </a:p>
            </p:txBody>
          </p:sp>
          <p:sp>
            <p:nvSpPr>
              <p:cNvPr id="149" name="Graphic 1039">
                <a:extLst>
                  <a:ext uri="{FF2B5EF4-FFF2-40B4-BE49-F238E27FC236}">
                    <a16:creationId xmlns:a16="http://schemas.microsoft.com/office/drawing/2014/main" id="{A9C9521F-A40C-C63C-DE1C-4BF79237BA94}"/>
                  </a:ext>
                </a:extLst>
              </p:cNvPr>
              <p:cNvSpPr/>
              <p:nvPr/>
            </p:nvSpPr>
            <p:spPr>
              <a:xfrm>
                <a:off x="11084863" y="908215"/>
                <a:ext cx="52072" cy="52116"/>
              </a:xfrm>
              <a:custGeom>
                <a:avLst/>
                <a:gdLst>
                  <a:gd name="connsiteX0" fmla="*/ 14058 w 28115"/>
                  <a:gd name="connsiteY0" fmla="*/ 0 h 28089"/>
                  <a:gd name="connsiteX1" fmla="*/ 0 w 28115"/>
                  <a:gd name="connsiteY1" fmla="*/ 14045 h 28089"/>
                  <a:gd name="connsiteX2" fmla="*/ 14058 w 28115"/>
                  <a:gd name="connsiteY2" fmla="*/ 28089 h 28089"/>
                  <a:gd name="connsiteX3" fmla="*/ 28115 w 28115"/>
                  <a:gd name="connsiteY3" fmla="*/ 14045 h 28089"/>
                  <a:gd name="connsiteX4" fmla="*/ 14058 w 28115"/>
                  <a:gd name="connsiteY4" fmla="*/ 0 h 28089"/>
                  <a:gd name="connsiteX5" fmla="*/ 12780 w 28115"/>
                  <a:gd name="connsiteY5" fmla="*/ 14045 h 28089"/>
                  <a:gd name="connsiteX6" fmla="*/ 14058 w 28115"/>
                  <a:gd name="connsiteY6" fmla="*/ 12768 h 28089"/>
                  <a:gd name="connsiteX7" fmla="*/ 15336 w 28115"/>
                  <a:gd name="connsiteY7" fmla="*/ 14045 h 28089"/>
                  <a:gd name="connsiteX8" fmla="*/ 12780 w 28115"/>
                  <a:gd name="connsiteY8" fmla="*/ 14045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28089">
                    <a:moveTo>
                      <a:pt x="14058" y="0"/>
                    </a:moveTo>
                    <a:cubicBezTo>
                      <a:pt x="6390" y="0"/>
                      <a:pt x="0" y="6384"/>
                      <a:pt x="0" y="14045"/>
                    </a:cubicBezTo>
                    <a:cubicBezTo>
                      <a:pt x="0" y="21706"/>
                      <a:pt x="6390" y="28089"/>
                      <a:pt x="14058" y="28089"/>
                    </a:cubicBezTo>
                    <a:cubicBezTo>
                      <a:pt x="21726" y="28089"/>
                      <a:pt x="28115" y="21706"/>
                      <a:pt x="28115" y="14045"/>
                    </a:cubicBezTo>
                    <a:cubicBezTo>
                      <a:pt x="28115" y="6384"/>
                      <a:pt x="21726" y="0"/>
                      <a:pt x="14058" y="0"/>
                    </a:cubicBezTo>
                    <a:close/>
                    <a:moveTo>
                      <a:pt x="12780" y="14045"/>
                    </a:moveTo>
                    <a:cubicBezTo>
                      <a:pt x="12780" y="13406"/>
                      <a:pt x="13419" y="12768"/>
                      <a:pt x="14058" y="12768"/>
                    </a:cubicBezTo>
                    <a:cubicBezTo>
                      <a:pt x="14697" y="12768"/>
                      <a:pt x="15336" y="13406"/>
                      <a:pt x="15336" y="14045"/>
                    </a:cubicBezTo>
                    <a:cubicBezTo>
                      <a:pt x="15336" y="15322"/>
                      <a:pt x="12780" y="15322"/>
                      <a:pt x="12780" y="14045"/>
                    </a:cubicBezTo>
                    <a:close/>
                  </a:path>
                </a:pathLst>
              </a:custGeom>
              <a:solidFill>
                <a:schemeClr val="accent6"/>
              </a:solidFill>
              <a:ln w="6390" cap="flat">
                <a:noFill/>
                <a:prstDash val="solid"/>
                <a:miter/>
              </a:ln>
            </p:spPr>
            <p:txBody>
              <a:bodyPr rtlCol="0" anchor="ctr"/>
              <a:lstStyle/>
              <a:p>
                <a:endParaRPr lang="de-AT" noProof="0" dirty="0"/>
              </a:p>
            </p:txBody>
          </p:sp>
          <p:sp>
            <p:nvSpPr>
              <p:cNvPr id="150" name="Graphic 1039">
                <a:extLst>
                  <a:ext uri="{FF2B5EF4-FFF2-40B4-BE49-F238E27FC236}">
                    <a16:creationId xmlns:a16="http://schemas.microsoft.com/office/drawing/2014/main" id="{53306135-4D8A-7C93-F149-A3369903A83B}"/>
                  </a:ext>
                </a:extLst>
              </p:cNvPr>
              <p:cNvSpPr/>
              <p:nvPr/>
            </p:nvSpPr>
            <p:spPr>
              <a:xfrm>
                <a:off x="11274222" y="907029"/>
                <a:ext cx="52072" cy="52116"/>
              </a:xfrm>
              <a:custGeom>
                <a:avLst/>
                <a:gdLst>
                  <a:gd name="connsiteX0" fmla="*/ 14058 w 28115"/>
                  <a:gd name="connsiteY0" fmla="*/ 0 h 28089"/>
                  <a:gd name="connsiteX1" fmla="*/ 0 w 28115"/>
                  <a:gd name="connsiteY1" fmla="*/ 14045 h 28089"/>
                  <a:gd name="connsiteX2" fmla="*/ 14058 w 28115"/>
                  <a:gd name="connsiteY2" fmla="*/ 28089 h 28089"/>
                  <a:gd name="connsiteX3" fmla="*/ 28115 w 28115"/>
                  <a:gd name="connsiteY3" fmla="*/ 14045 h 28089"/>
                  <a:gd name="connsiteX4" fmla="*/ 14058 w 28115"/>
                  <a:gd name="connsiteY4" fmla="*/ 0 h 28089"/>
                  <a:gd name="connsiteX5" fmla="*/ 12780 w 28115"/>
                  <a:gd name="connsiteY5" fmla="*/ 14045 h 28089"/>
                  <a:gd name="connsiteX6" fmla="*/ 14058 w 28115"/>
                  <a:gd name="connsiteY6" fmla="*/ 12768 h 28089"/>
                  <a:gd name="connsiteX7" fmla="*/ 15336 w 28115"/>
                  <a:gd name="connsiteY7" fmla="*/ 14045 h 28089"/>
                  <a:gd name="connsiteX8" fmla="*/ 12780 w 28115"/>
                  <a:gd name="connsiteY8" fmla="*/ 14045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28089">
                    <a:moveTo>
                      <a:pt x="14058" y="0"/>
                    </a:moveTo>
                    <a:cubicBezTo>
                      <a:pt x="6390" y="0"/>
                      <a:pt x="0" y="6384"/>
                      <a:pt x="0" y="14045"/>
                    </a:cubicBezTo>
                    <a:cubicBezTo>
                      <a:pt x="0" y="21706"/>
                      <a:pt x="6390" y="28089"/>
                      <a:pt x="14058" y="28089"/>
                    </a:cubicBezTo>
                    <a:cubicBezTo>
                      <a:pt x="21726" y="28089"/>
                      <a:pt x="28115" y="21706"/>
                      <a:pt x="28115" y="14045"/>
                    </a:cubicBezTo>
                    <a:cubicBezTo>
                      <a:pt x="28115" y="6384"/>
                      <a:pt x="21726" y="0"/>
                      <a:pt x="14058" y="0"/>
                    </a:cubicBezTo>
                    <a:close/>
                    <a:moveTo>
                      <a:pt x="12780" y="14045"/>
                    </a:moveTo>
                    <a:cubicBezTo>
                      <a:pt x="12780" y="13406"/>
                      <a:pt x="13419" y="12768"/>
                      <a:pt x="14058" y="12768"/>
                    </a:cubicBezTo>
                    <a:cubicBezTo>
                      <a:pt x="14697" y="12768"/>
                      <a:pt x="15336" y="13406"/>
                      <a:pt x="15336" y="14045"/>
                    </a:cubicBezTo>
                    <a:cubicBezTo>
                      <a:pt x="14697" y="15322"/>
                      <a:pt x="12780" y="15322"/>
                      <a:pt x="12780" y="14045"/>
                    </a:cubicBezTo>
                    <a:close/>
                  </a:path>
                </a:pathLst>
              </a:custGeom>
              <a:solidFill>
                <a:schemeClr val="accent6"/>
              </a:solidFill>
              <a:ln w="6390" cap="flat">
                <a:noFill/>
                <a:prstDash val="solid"/>
                <a:miter/>
              </a:ln>
            </p:spPr>
            <p:txBody>
              <a:bodyPr rtlCol="0" anchor="ctr"/>
              <a:lstStyle/>
              <a:p>
                <a:endParaRPr lang="de-AT" noProof="0" dirty="0"/>
              </a:p>
            </p:txBody>
          </p:sp>
          <p:sp>
            <p:nvSpPr>
              <p:cNvPr id="151" name="Graphic 1039">
                <a:extLst>
                  <a:ext uri="{FF2B5EF4-FFF2-40B4-BE49-F238E27FC236}">
                    <a16:creationId xmlns:a16="http://schemas.microsoft.com/office/drawing/2014/main" id="{2F89012E-022C-E3D3-BF74-37CAADF6B570}"/>
                  </a:ext>
                </a:extLst>
              </p:cNvPr>
              <p:cNvSpPr/>
              <p:nvPr/>
            </p:nvSpPr>
            <p:spPr>
              <a:xfrm>
                <a:off x="11128488" y="546949"/>
                <a:ext cx="121527" cy="161089"/>
              </a:xfrm>
              <a:custGeom>
                <a:avLst/>
                <a:gdLst>
                  <a:gd name="connsiteX0" fmla="*/ 28843 w 65615"/>
                  <a:gd name="connsiteY0" fmla="*/ 84907 h 86822"/>
                  <a:gd name="connsiteX1" fmla="*/ 33316 w 65615"/>
                  <a:gd name="connsiteY1" fmla="*/ 86822 h 86822"/>
                  <a:gd name="connsiteX2" fmla="*/ 33316 w 65615"/>
                  <a:gd name="connsiteY2" fmla="*/ 86822 h 86822"/>
                  <a:gd name="connsiteX3" fmla="*/ 37789 w 65615"/>
                  <a:gd name="connsiteY3" fmla="*/ 84907 h 86822"/>
                  <a:gd name="connsiteX4" fmla="*/ 63988 w 65615"/>
                  <a:gd name="connsiteY4" fmla="*/ 54902 h 86822"/>
                  <a:gd name="connsiteX5" fmla="*/ 63349 w 65615"/>
                  <a:gd name="connsiteY5" fmla="*/ 45965 h 86822"/>
                  <a:gd name="connsiteX6" fmla="*/ 54403 w 65615"/>
                  <a:gd name="connsiteY6" fmla="*/ 46603 h 86822"/>
                  <a:gd name="connsiteX7" fmla="*/ 39706 w 65615"/>
                  <a:gd name="connsiteY7" fmla="*/ 63840 h 86822"/>
                  <a:gd name="connsiteX8" fmla="*/ 39706 w 65615"/>
                  <a:gd name="connsiteY8" fmla="*/ 6384 h 86822"/>
                  <a:gd name="connsiteX9" fmla="*/ 33316 w 65615"/>
                  <a:gd name="connsiteY9" fmla="*/ 0 h 86822"/>
                  <a:gd name="connsiteX10" fmla="*/ 26926 w 65615"/>
                  <a:gd name="connsiteY10" fmla="*/ 6384 h 86822"/>
                  <a:gd name="connsiteX11" fmla="*/ 26926 w 65615"/>
                  <a:gd name="connsiteY11" fmla="*/ 64478 h 86822"/>
                  <a:gd name="connsiteX12" fmla="*/ 10951 w 65615"/>
                  <a:gd name="connsiteY12" fmla="*/ 47241 h 86822"/>
                  <a:gd name="connsiteX13" fmla="*/ 2006 w 65615"/>
                  <a:gd name="connsiteY13" fmla="*/ 46603 h 86822"/>
                  <a:gd name="connsiteX14" fmla="*/ 1366 w 65615"/>
                  <a:gd name="connsiteY14" fmla="*/ 55541 h 86822"/>
                  <a:gd name="connsiteX15" fmla="*/ 28843 w 65615"/>
                  <a:gd name="connsiteY15" fmla="*/ 84907 h 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615" h="86822">
                    <a:moveTo>
                      <a:pt x="28843" y="84907"/>
                    </a:moveTo>
                    <a:cubicBezTo>
                      <a:pt x="30121" y="86184"/>
                      <a:pt x="32038" y="86822"/>
                      <a:pt x="33316" y="86822"/>
                    </a:cubicBezTo>
                    <a:cubicBezTo>
                      <a:pt x="33316" y="86822"/>
                      <a:pt x="33316" y="86822"/>
                      <a:pt x="33316" y="86822"/>
                    </a:cubicBezTo>
                    <a:cubicBezTo>
                      <a:pt x="35233" y="86822"/>
                      <a:pt x="37150" y="86184"/>
                      <a:pt x="37789" y="84907"/>
                    </a:cubicBezTo>
                    <a:lnTo>
                      <a:pt x="63988" y="54902"/>
                    </a:lnTo>
                    <a:cubicBezTo>
                      <a:pt x="66544" y="52349"/>
                      <a:pt x="65905" y="48518"/>
                      <a:pt x="63349" y="45965"/>
                    </a:cubicBezTo>
                    <a:cubicBezTo>
                      <a:pt x="60793" y="43411"/>
                      <a:pt x="56959" y="44049"/>
                      <a:pt x="54403" y="46603"/>
                    </a:cubicBezTo>
                    <a:lnTo>
                      <a:pt x="39706" y="63840"/>
                    </a:lnTo>
                    <a:lnTo>
                      <a:pt x="39706" y="6384"/>
                    </a:lnTo>
                    <a:cubicBezTo>
                      <a:pt x="39706" y="2554"/>
                      <a:pt x="37150" y="0"/>
                      <a:pt x="33316" y="0"/>
                    </a:cubicBezTo>
                    <a:cubicBezTo>
                      <a:pt x="29482" y="0"/>
                      <a:pt x="26926" y="2554"/>
                      <a:pt x="26926" y="6384"/>
                    </a:cubicBezTo>
                    <a:lnTo>
                      <a:pt x="26926" y="64478"/>
                    </a:lnTo>
                    <a:lnTo>
                      <a:pt x="10951" y="47241"/>
                    </a:lnTo>
                    <a:cubicBezTo>
                      <a:pt x="8396" y="44688"/>
                      <a:pt x="4561" y="44688"/>
                      <a:pt x="2006" y="46603"/>
                    </a:cubicBezTo>
                    <a:cubicBezTo>
                      <a:pt x="-551" y="49157"/>
                      <a:pt x="-551" y="52987"/>
                      <a:pt x="1366" y="55541"/>
                    </a:cubicBezTo>
                    <a:lnTo>
                      <a:pt x="28843" y="84907"/>
                    </a:lnTo>
                    <a:close/>
                  </a:path>
                </a:pathLst>
              </a:custGeom>
              <a:solidFill>
                <a:schemeClr val="accent6"/>
              </a:solidFill>
              <a:ln w="6390" cap="flat">
                <a:noFill/>
                <a:prstDash val="solid"/>
                <a:miter/>
              </a:ln>
            </p:spPr>
            <p:txBody>
              <a:bodyPr rtlCol="0" anchor="ctr"/>
              <a:lstStyle/>
              <a:p>
                <a:endParaRPr lang="de-AT" noProof="0" dirty="0"/>
              </a:p>
            </p:txBody>
          </p:sp>
          <p:sp>
            <p:nvSpPr>
              <p:cNvPr id="152" name="Graphic 1039">
                <a:extLst>
                  <a:ext uri="{FF2B5EF4-FFF2-40B4-BE49-F238E27FC236}">
                    <a16:creationId xmlns:a16="http://schemas.microsoft.com/office/drawing/2014/main" id="{AA9A87D9-AF03-2EA7-CFF0-23FCEAD35ABD}"/>
                  </a:ext>
                </a:extLst>
              </p:cNvPr>
              <p:cNvSpPr/>
              <p:nvPr/>
            </p:nvSpPr>
            <p:spPr>
              <a:xfrm>
                <a:off x="11256469" y="676058"/>
                <a:ext cx="53256" cy="23688"/>
              </a:xfrm>
              <a:custGeom>
                <a:avLst/>
                <a:gdLst>
                  <a:gd name="connsiteX0" fmla="*/ 6390 w 28754"/>
                  <a:gd name="connsiteY0" fmla="*/ 12768 h 12767"/>
                  <a:gd name="connsiteX1" fmla="*/ 22365 w 28754"/>
                  <a:gd name="connsiteY1" fmla="*/ 12768 h 12767"/>
                  <a:gd name="connsiteX2" fmla="*/ 28755 w 28754"/>
                  <a:gd name="connsiteY2" fmla="*/ 6384 h 12767"/>
                  <a:gd name="connsiteX3" fmla="*/ 22365 w 28754"/>
                  <a:gd name="connsiteY3" fmla="*/ 0 h 12767"/>
                  <a:gd name="connsiteX4" fmla="*/ 6390 w 28754"/>
                  <a:gd name="connsiteY4" fmla="*/ 0 h 12767"/>
                  <a:gd name="connsiteX5" fmla="*/ 0 w 28754"/>
                  <a:gd name="connsiteY5" fmla="*/ 6384 h 12767"/>
                  <a:gd name="connsiteX6" fmla="*/ 6390 w 28754"/>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6390" y="12768"/>
                    </a:moveTo>
                    <a:lnTo>
                      <a:pt x="22365" y="12768"/>
                    </a:lnTo>
                    <a:cubicBezTo>
                      <a:pt x="26199" y="12768"/>
                      <a:pt x="28755" y="10214"/>
                      <a:pt x="28755" y="6384"/>
                    </a:cubicBezTo>
                    <a:cubicBezTo>
                      <a:pt x="28755" y="2554"/>
                      <a:pt x="26199" y="0"/>
                      <a:pt x="22365" y="0"/>
                    </a:cubicBezTo>
                    <a:lnTo>
                      <a:pt x="6390" y="0"/>
                    </a:lnTo>
                    <a:cubicBezTo>
                      <a:pt x="2556" y="0"/>
                      <a:pt x="0" y="2554"/>
                      <a:pt x="0" y="6384"/>
                    </a:cubicBezTo>
                    <a:cubicBezTo>
                      <a:pt x="0" y="10214"/>
                      <a:pt x="2556" y="12768"/>
                      <a:pt x="6390" y="12768"/>
                    </a:cubicBezTo>
                    <a:close/>
                  </a:path>
                </a:pathLst>
              </a:custGeom>
              <a:solidFill>
                <a:schemeClr val="accent6"/>
              </a:solidFill>
              <a:ln w="6390" cap="flat">
                <a:noFill/>
                <a:prstDash val="solid"/>
                <a:miter/>
              </a:ln>
            </p:spPr>
            <p:txBody>
              <a:bodyPr rtlCol="0" anchor="ctr"/>
              <a:lstStyle/>
              <a:p>
                <a:endParaRPr lang="de-AT" noProof="0" dirty="0"/>
              </a:p>
            </p:txBody>
          </p:sp>
        </p:grpSp>
        <p:sp>
          <p:nvSpPr>
            <p:cNvPr id="153" name="Freeform 16">
              <a:extLst>
                <a:ext uri="{FF2B5EF4-FFF2-40B4-BE49-F238E27FC236}">
                  <a16:creationId xmlns:a16="http://schemas.microsoft.com/office/drawing/2014/main" id="{AF893175-E01E-CB53-83A0-3E99B804E4DA}"/>
                </a:ext>
              </a:extLst>
            </p:cNvPr>
            <p:cNvSpPr>
              <a:spLocks noEditPoints="1"/>
            </p:cNvSpPr>
            <p:nvPr/>
          </p:nvSpPr>
          <p:spPr bwMode="auto">
            <a:xfrm>
              <a:off x="10460665" y="-193878"/>
              <a:ext cx="671039" cy="670413"/>
            </a:xfrm>
            <a:custGeom>
              <a:avLst/>
              <a:gdLst>
                <a:gd name="T0" fmla="*/ 311 w 658"/>
                <a:gd name="T1" fmla="*/ 657 h 658"/>
                <a:gd name="T2" fmla="*/ 262 w 658"/>
                <a:gd name="T3" fmla="*/ 652 h 658"/>
                <a:gd name="T4" fmla="*/ 201 w 658"/>
                <a:gd name="T5" fmla="*/ 631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2 h 658"/>
                <a:gd name="T22" fmla="*/ 96 w 658"/>
                <a:gd name="T23" fmla="*/ 96 h 658"/>
                <a:gd name="T24" fmla="*/ 172 w 658"/>
                <a:gd name="T25" fmla="*/ 40 h 658"/>
                <a:gd name="T26" fmla="*/ 247 w 658"/>
                <a:gd name="T27" fmla="*/ 10 h 658"/>
                <a:gd name="T28" fmla="*/ 295 w 658"/>
                <a:gd name="T29" fmla="*/ 1 h 658"/>
                <a:gd name="T30" fmla="*/ 329 w 658"/>
                <a:gd name="T31" fmla="*/ 0 h 658"/>
                <a:gd name="T32" fmla="*/ 379 w 658"/>
                <a:gd name="T33" fmla="*/ 4 h 658"/>
                <a:gd name="T34" fmla="*/ 426 w 658"/>
                <a:gd name="T35" fmla="*/ 14 h 658"/>
                <a:gd name="T36" fmla="*/ 513 w 658"/>
                <a:gd name="T37" fmla="*/ 56 h 658"/>
                <a:gd name="T38" fmla="*/ 583 w 658"/>
                <a:gd name="T39" fmla="*/ 119 h 658"/>
                <a:gd name="T40" fmla="*/ 631 w 658"/>
                <a:gd name="T41" fmla="*/ 201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6 w 658"/>
                <a:gd name="T67" fmla="*/ 87 h 658"/>
                <a:gd name="T68" fmla="*/ 104 w 658"/>
                <a:gd name="T69" fmla="*/ 144 h 658"/>
                <a:gd name="T70" fmla="*/ 60 w 658"/>
                <a:gd name="T71" fmla="*/ 216 h 658"/>
                <a:gd name="T72" fmla="*/ 39 w 658"/>
                <a:gd name="T73" fmla="*/ 299 h 658"/>
                <a:gd name="T74" fmla="*/ 39 w 658"/>
                <a:gd name="T75" fmla="*/ 359 h 658"/>
                <a:gd name="T76" fmla="*/ 60 w 658"/>
                <a:gd name="T77" fmla="*/ 442 h 658"/>
                <a:gd name="T78" fmla="*/ 104 w 658"/>
                <a:gd name="T79" fmla="*/ 514 h 658"/>
                <a:gd name="T80" fmla="*/ 166 w 658"/>
                <a:gd name="T81" fmla="*/ 571 h 658"/>
                <a:gd name="T82" fmla="*/ 242 w 658"/>
                <a:gd name="T83" fmla="*/ 607 h 658"/>
                <a:gd name="T84" fmla="*/ 329 w 658"/>
                <a:gd name="T85" fmla="*/ 621 h 658"/>
                <a:gd name="T86" fmla="*/ 387 w 658"/>
                <a:gd name="T87" fmla="*/ 614 h 658"/>
                <a:gd name="T88" fmla="*/ 467 w 658"/>
                <a:gd name="T89" fmla="*/ 584 h 658"/>
                <a:gd name="T90" fmla="*/ 535 w 658"/>
                <a:gd name="T91" fmla="*/ 535 h 658"/>
                <a:gd name="T92" fmla="*/ 584 w 658"/>
                <a:gd name="T93" fmla="*/ 467 h 658"/>
                <a:gd name="T94" fmla="*/ 614 w 658"/>
                <a:gd name="T95" fmla="*/ 388 h 658"/>
                <a:gd name="T96" fmla="*/ 621 w 658"/>
                <a:gd name="T97" fmla="*/ 329 h 658"/>
                <a:gd name="T98" fmla="*/ 607 w 658"/>
                <a:gd name="T99" fmla="*/ 242 h 658"/>
                <a:gd name="T100" fmla="*/ 570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6"/>
                  </a:lnTo>
                  <a:lnTo>
                    <a:pt x="279" y="654"/>
                  </a:lnTo>
                  <a:lnTo>
                    <a:pt x="262" y="652"/>
                  </a:lnTo>
                  <a:lnTo>
                    <a:pt x="247" y="648"/>
                  </a:lnTo>
                  <a:lnTo>
                    <a:pt x="231" y="644"/>
                  </a:lnTo>
                  <a:lnTo>
                    <a:pt x="201" y="631"/>
                  </a:lnTo>
                  <a:lnTo>
                    <a:pt x="172" y="618"/>
                  </a:lnTo>
                  <a:lnTo>
                    <a:pt x="145" y="602"/>
                  </a:lnTo>
                  <a:lnTo>
                    <a:pt x="119" y="583"/>
                  </a:lnTo>
                  <a:lnTo>
                    <a:pt x="96" y="562"/>
                  </a:lnTo>
                  <a:lnTo>
                    <a:pt x="75" y="537"/>
                  </a:lnTo>
                  <a:lnTo>
                    <a:pt x="56" y="513"/>
                  </a:lnTo>
                  <a:lnTo>
                    <a:pt x="40" y="485"/>
                  </a:lnTo>
                  <a:lnTo>
                    <a:pt x="25" y="457"/>
                  </a:lnTo>
                  <a:lnTo>
                    <a:pt x="14" y="427"/>
                  </a:lnTo>
                  <a:lnTo>
                    <a:pt x="10" y="411"/>
                  </a:lnTo>
                  <a:lnTo>
                    <a:pt x="6" y="395"/>
                  </a:lnTo>
                  <a:lnTo>
                    <a:pt x="4" y="379"/>
                  </a:lnTo>
                  <a:lnTo>
                    <a:pt x="1" y="363"/>
                  </a:lnTo>
                  <a:lnTo>
                    <a:pt x="0" y="345"/>
                  </a:lnTo>
                  <a:lnTo>
                    <a:pt x="0" y="329"/>
                  </a:lnTo>
                  <a:lnTo>
                    <a:pt x="0" y="329"/>
                  </a:lnTo>
                  <a:lnTo>
                    <a:pt x="0" y="312"/>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2" y="40"/>
                  </a:lnTo>
                  <a:lnTo>
                    <a:pt x="201" y="25"/>
                  </a:lnTo>
                  <a:lnTo>
                    <a:pt x="231" y="14"/>
                  </a:lnTo>
                  <a:lnTo>
                    <a:pt x="247" y="10"/>
                  </a:lnTo>
                  <a:lnTo>
                    <a:pt x="262" y="6"/>
                  </a:lnTo>
                  <a:lnTo>
                    <a:pt x="279" y="4"/>
                  </a:lnTo>
                  <a:lnTo>
                    <a:pt x="295" y="1"/>
                  </a:lnTo>
                  <a:lnTo>
                    <a:pt x="311" y="0"/>
                  </a:lnTo>
                  <a:lnTo>
                    <a:pt x="329" y="0"/>
                  </a:lnTo>
                  <a:lnTo>
                    <a:pt x="329" y="0"/>
                  </a:lnTo>
                  <a:lnTo>
                    <a:pt x="345" y="0"/>
                  </a:lnTo>
                  <a:lnTo>
                    <a:pt x="363" y="1"/>
                  </a:lnTo>
                  <a:lnTo>
                    <a:pt x="379" y="4"/>
                  </a:lnTo>
                  <a:lnTo>
                    <a:pt x="395" y="6"/>
                  </a:lnTo>
                  <a:lnTo>
                    <a:pt x="411" y="10"/>
                  </a:lnTo>
                  <a:lnTo>
                    <a:pt x="426" y="14"/>
                  </a:lnTo>
                  <a:lnTo>
                    <a:pt x="457" y="25"/>
                  </a:lnTo>
                  <a:lnTo>
                    <a:pt x="485" y="40"/>
                  </a:lnTo>
                  <a:lnTo>
                    <a:pt x="513" y="56"/>
                  </a:lnTo>
                  <a:lnTo>
                    <a:pt x="537" y="75"/>
                  </a:lnTo>
                  <a:lnTo>
                    <a:pt x="561" y="96"/>
                  </a:lnTo>
                  <a:lnTo>
                    <a:pt x="583" y="119"/>
                  </a:lnTo>
                  <a:lnTo>
                    <a:pt x="602" y="145"/>
                  </a:lnTo>
                  <a:lnTo>
                    <a:pt x="618" y="172"/>
                  </a:lnTo>
                  <a:lnTo>
                    <a:pt x="631" y="201"/>
                  </a:lnTo>
                  <a:lnTo>
                    <a:pt x="643" y="231"/>
                  </a:lnTo>
                  <a:lnTo>
                    <a:pt x="647" y="247"/>
                  </a:lnTo>
                  <a:lnTo>
                    <a:pt x="651" y="263"/>
                  </a:lnTo>
                  <a:lnTo>
                    <a:pt x="654" y="279"/>
                  </a:lnTo>
                  <a:lnTo>
                    <a:pt x="656" y="295"/>
                  </a:lnTo>
                  <a:lnTo>
                    <a:pt x="657" y="312"/>
                  </a:lnTo>
                  <a:lnTo>
                    <a:pt x="658" y="329"/>
                  </a:lnTo>
                  <a:lnTo>
                    <a:pt x="658" y="329"/>
                  </a:lnTo>
                  <a:lnTo>
                    <a:pt x="657" y="345"/>
                  </a:lnTo>
                  <a:lnTo>
                    <a:pt x="656" y="363"/>
                  </a:lnTo>
                  <a:lnTo>
                    <a:pt x="654" y="379"/>
                  </a:lnTo>
                  <a:lnTo>
                    <a:pt x="651" y="395"/>
                  </a:lnTo>
                  <a:lnTo>
                    <a:pt x="647" y="411"/>
                  </a:lnTo>
                  <a:lnTo>
                    <a:pt x="643" y="427"/>
                  </a:lnTo>
                  <a:lnTo>
                    <a:pt x="631" y="457"/>
                  </a:lnTo>
                  <a:lnTo>
                    <a:pt x="618" y="485"/>
                  </a:lnTo>
                  <a:lnTo>
                    <a:pt x="602" y="513"/>
                  </a:lnTo>
                  <a:lnTo>
                    <a:pt x="583" y="537"/>
                  </a:lnTo>
                  <a:lnTo>
                    <a:pt x="561"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7"/>
                  </a:moveTo>
                  <a:lnTo>
                    <a:pt x="329" y="37"/>
                  </a:lnTo>
                  <a:lnTo>
                    <a:pt x="299" y="39"/>
                  </a:lnTo>
                  <a:lnTo>
                    <a:pt x="270" y="44"/>
                  </a:lnTo>
                  <a:lnTo>
                    <a:pt x="242" y="51"/>
                  </a:lnTo>
                  <a:lnTo>
                    <a:pt x="215" y="60"/>
                  </a:lnTo>
                  <a:lnTo>
                    <a:pt x="191" y="72"/>
                  </a:lnTo>
                  <a:lnTo>
                    <a:pt x="166" y="87"/>
                  </a:lnTo>
                  <a:lnTo>
                    <a:pt x="143" y="105"/>
                  </a:lnTo>
                  <a:lnTo>
                    <a:pt x="123" y="123"/>
                  </a:lnTo>
                  <a:lnTo>
                    <a:pt x="104" y="144"/>
                  </a:lnTo>
                  <a:lnTo>
                    <a:pt x="87" y="166"/>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2"/>
                  </a:lnTo>
                  <a:lnTo>
                    <a:pt x="104" y="514"/>
                  </a:lnTo>
                  <a:lnTo>
                    <a:pt x="123" y="535"/>
                  </a:lnTo>
                  <a:lnTo>
                    <a:pt x="143" y="553"/>
                  </a:lnTo>
                  <a:lnTo>
                    <a:pt x="166" y="571"/>
                  </a:lnTo>
                  <a:lnTo>
                    <a:pt x="191"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7" y="584"/>
                  </a:lnTo>
                  <a:lnTo>
                    <a:pt x="492" y="571"/>
                  </a:lnTo>
                  <a:lnTo>
                    <a:pt x="514" y="553"/>
                  </a:lnTo>
                  <a:lnTo>
                    <a:pt x="535" y="535"/>
                  </a:lnTo>
                  <a:lnTo>
                    <a:pt x="553" y="514"/>
                  </a:lnTo>
                  <a:lnTo>
                    <a:pt x="570" y="492"/>
                  </a:lnTo>
                  <a:lnTo>
                    <a:pt x="584" y="467"/>
                  </a:lnTo>
                  <a:lnTo>
                    <a:pt x="596" y="442"/>
                  </a:lnTo>
                  <a:lnTo>
                    <a:pt x="607" y="415"/>
                  </a:lnTo>
                  <a:lnTo>
                    <a:pt x="614" y="388"/>
                  </a:lnTo>
                  <a:lnTo>
                    <a:pt x="618" y="359"/>
                  </a:lnTo>
                  <a:lnTo>
                    <a:pt x="621" y="329"/>
                  </a:lnTo>
                  <a:lnTo>
                    <a:pt x="621" y="329"/>
                  </a:lnTo>
                  <a:lnTo>
                    <a:pt x="618" y="299"/>
                  </a:lnTo>
                  <a:lnTo>
                    <a:pt x="614" y="270"/>
                  </a:lnTo>
                  <a:lnTo>
                    <a:pt x="607" y="242"/>
                  </a:lnTo>
                  <a:lnTo>
                    <a:pt x="596" y="216"/>
                  </a:lnTo>
                  <a:lnTo>
                    <a:pt x="584" y="191"/>
                  </a:lnTo>
                  <a:lnTo>
                    <a:pt x="570" y="166"/>
                  </a:lnTo>
                  <a:lnTo>
                    <a:pt x="553" y="144"/>
                  </a:lnTo>
                  <a:lnTo>
                    <a:pt x="535" y="123"/>
                  </a:lnTo>
                  <a:lnTo>
                    <a:pt x="514" y="105"/>
                  </a:lnTo>
                  <a:lnTo>
                    <a:pt x="492" y="87"/>
                  </a:lnTo>
                  <a:lnTo>
                    <a:pt x="467" y="72"/>
                  </a:lnTo>
                  <a:lnTo>
                    <a:pt x="442" y="60"/>
                  </a:lnTo>
                  <a:lnTo>
                    <a:pt x="415" y="51"/>
                  </a:lnTo>
                  <a:lnTo>
                    <a:pt x="387" y="44"/>
                  </a:lnTo>
                  <a:lnTo>
                    <a:pt x="359" y="39"/>
                  </a:lnTo>
                  <a:lnTo>
                    <a:pt x="329" y="37"/>
                  </a:lnTo>
                  <a:lnTo>
                    <a:pt x="329" y="3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grpSp>
      <p:grpSp>
        <p:nvGrpSpPr>
          <p:cNvPr id="159" name="Group 158">
            <a:extLst>
              <a:ext uri="{FF2B5EF4-FFF2-40B4-BE49-F238E27FC236}">
                <a16:creationId xmlns:a16="http://schemas.microsoft.com/office/drawing/2014/main" id="{307E3382-1AEE-E079-EC94-B6492DA31A66}"/>
              </a:ext>
            </a:extLst>
          </p:cNvPr>
          <p:cNvGrpSpPr>
            <a:grpSpLocks/>
          </p:cNvGrpSpPr>
          <p:nvPr/>
        </p:nvGrpSpPr>
        <p:grpSpPr>
          <a:xfrm>
            <a:off x="7295334" y="2813598"/>
            <a:ext cx="540000" cy="540000"/>
            <a:chOff x="8246404" y="-181144"/>
            <a:chExt cx="671039" cy="670413"/>
          </a:xfrm>
        </p:grpSpPr>
        <p:grpSp>
          <p:nvGrpSpPr>
            <p:cNvPr id="60" name="Graphic 4">
              <a:extLst>
                <a:ext uri="{FF2B5EF4-FFF2-40B4-BE49-F238E27FC236}">
                  <a16:creationId xmlns:a16="http://schemas.microsoft.com/office/drawing/2014/main" id="{62F94945-BD8D-AB38-12B8-2B92B72FB5A9}"/>
                </a:ext>
              </a:extLst>
            </p:cNvPr>
            <p:cNvGrpSpPr>
              <a:grpSpLocks/>
            </p:cNvGrpSpPr>
            <p:nvPr/>
          </p:nvGrpSpPr>
          <p:grpSpPr>
            <a:xfrm>
              <a:off x="8435637" y="-92988"/>
              <a:ext cx="291298" cy="481338"/>
              <a:chOff x="6859619" y="3400271"/>
              <a:chExt cx="150119" cy="240676"/>
            </a:xfrm>
            <a:solidFill>
              <a:schemeClr val="accent1"/>
            </a:solidFill>
          </p:grpSpPr>
          <p:sp>
            <p:nvSpPr>
              <p:cNvPr id="135" name="Graphic 4">
                <a:extLst>
                  <a:ext uri="{FF2B5EF4-FFF2-40B4-BE49-F238E27FC236}">
                    <a16:creationId xmlns:a16="http://schemas.microsoft.com/office/drawing/2014/main" id="{CDD19150-0FEB-A009-8BFD-7DFD841D2FF8}"/>
                  </a:ext>
                </a:extLst>
              </p:cNvPr>
              <p:cNvSpPr/>
              <p:nvPr/>
            </p:nvSpPr>
            <p:spPr>
              <a:xfrm>
                <a:off x="6926691" y="3517737"/>
                <a:ext cx="12779" cy="123210"/>
              </a:xfrm>
              <a:custGeom>
                <a:avLst/>
                <a:gdLst>
                  <a:gd name="connsiteX0" fmla="*/ 6390 w 12779"/>
                  <a:gd name="connsiteY0" fmla="*/ 0 h 123210"/>
                  <a:gd name="connsiteX1" fmla="*/ 0 w 12779"/>
                  <a:gd name="connsiteY1" fmla="*/ 6384 h 123210"/>
                  <a:gd name="connsiteX2" fmla="*/ 0 w 12779"/>
                  <a:gd name="connsiteY2" fmla="*/ 116827 h 123210"/>
                  <a:gd name="connsiteX3" fmla="*/ 6390 w 12779"/>
                  <a:gd name="connsiteY3" fmla="*/ 123211 h 123210"/>
                  <a:gd name="connsiteX4" fmla="*/ 12780 w 12779"/>
                  <a:gd name="connsiteY4" fmla="*/ 116827 h 123210"/>
                  <a:gd name="connsiteX5" fmla="*/ 12780 w 12779"/>
                  <a:gd name="connsiteY5" fmla="*/ 6384 h 123210"/>
                  <a:gd name="connsiteX6" fmla="*/ 6390 w 12779"/>
                  <a:gd name="connsiteY6" fmla="*/ 0 h 12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3210">
                    <a:moveTo>
                      <a:pt x="6390" y="0"/>
                    </a:moveTo>
                    <a:cubicBezTo>
                      <a:pt x="2556" y="0"/>
                      <a:pt x="0" y="2553"/>
                      <a:pt x="0" y="6384"/>
                    </a:cubicBezTo>
                    <a:lnTo>
                      <a:pt x="0" y="116827"/>
                    </a:lnTo>
                    <a:cubicBezTo>
                      <a:pt x="0" y="120657"/>
                      <a:pt x="2556" y="123211"/>
                      <a:pt x="6390" y="123211"/>
                    </a:cubicBezTo>
                    <a:cubicBezTo>
                      <a:pt x="10224" y="123211"/>
                      <a:pt x="12780" y="120657"/>
                      <a:pt x="12780" y="116827"/>
                    </a:cubicBezTo>
                    <a:lnTo>
                      <a:pt x="12780" y="6384"/>
                    </a:lnTo>
                    <a:cubicBezTo>
                      <a:pt x="12780" y="2553"/>
                      <a:pt x="10224" y="0"/>
                      <a:pt x="6390" y="0"/>
                    </a:cubicBezTo>
                    <a:close/>
                  </a:path>
                </a:pathLst>
              </a:custGeom>
              <a:grpFill/>
              <a:ln w="6390" cap="flat">
                <a:noFill/>
                <a:prstDash val="solid"/>
                <a:miter/>
              </a:ln>
            </p:spPr>
            <p:txBody>
              <a:bodyPr rtlCol="0" anchor="ctr"/>
              <a:lstStyle/>
              <a:p>
                <a:endParaRPr lang="de-AT" noProof="0" dirty="0"/>
              </a:p>
            </p:txBody>
          </p:sp>
          <p:sp>
            <p:nvSpPr>
              <p:cNvPr id="136" name="Graphic 4">
                <a:extLst>
                  <a:ext uri="{FF2B5EF4-FFF2-40B4-BE49-F238E27FC236}">
                    <a16:creationId xmlns:a16="http://schemas.microsoft.com/office/drawing/2014/main" id="{C215E02C-76EC-5AEE-EED3-F03287D38CEE}"/>
                  </a:ext>
                </a:extLst>
              </p:cNvPr>
              <p:cNvSpPr/>
              <p:nvPr/>
            </p:nvSpPr>
            <p:spPr>
              <a:xfrm>
                <a:off x="6859619" y="3400271"/>
                <a:ext cx="150119" cy="122572"/>
              </a:xfrm>
              <a:custGeom>
                <a:avLst/>
                <a:gdLst>
                  <a:gd name="connsiteX0" fmla="*/ 146947 w 150119"/>
                  <a:gd name="connsiteY0" fmla="*/ 110443 h 122572"/>
                  <a:gd name="connsiteX1" fmla="*/ 96466 w 150119"/>
                  <a:gd name="connsiteY1" fmla="*/ 81715 h 122572"/>
                  <a:gd name="connsiteX2" fmla="*/ 79852 w 150119"/>
                  <a:gd name="connsiteY2" fmla="*/ 60010 h 122572"/>
                  <a:gd name="connsiteX3" fmla="*/ 79852 w 150119"/>
                  <a:gd name="connsiteY3" fmla="*/ 6384 h 122572"/>
                  <a:gd name="connsiteX4" fmla="*/ 73462 w 150119"/>
                  <a:gd name="connsiteY4" fmla="*/ 0 h 122572"/>
                  <a:gd name="connsiteX5" fmla="*/ 67072 w 150119"/>
                  <a:gd name="connsiteY5" fmla="*/ 6384 h 122572"/>
                  <a:gd name="connsiteX6" fmla="*/ 67072 w 150119"/>
                  <a:gd name="connsiteY6" fmla="*/ 60010 h 122572"/>
                  <a:gd name="connsiteX7" fmla="*/ 50459 w 150119"/>
                  <a:gd name="connsiteY7" fmla="*/ 82354 h 122572"/>
                  <a:gd name="connsiteX8" fmla="*/ 50459 w 150119"/>
                  <a:gd name="connsiteY8" fmla="*/ 83630 h 122572"/>
                  <a:gd name="connsiteX9" fmla="*/ 3173 w 150119"/>
                  <a:gd name="connsiteY9" fmla="*/ 110443 h 122572"/>
                  <a:gd name="connsiteX10" fmla="*/ 617 w 150119"/>
                  <a:gd name="connsiteY10" fmla="*/ 119381 h 122572"/>
                  <a:gd name="connsiteX11" fmla="*/ 9563 w 150119"/>
                  <a:gd name="connsiteY11" fmla="*/ 121934 h 122572"/>
                  <a:gd name="connsiteX12" fmla="*/ 54931 w 150119"/>
                  <a:gd name="connsiteY12" fmla="*/ 96398 h 122572"/>
                  <a:gd name="connsiteX13" fmla="*/ 87520 w 150119"/>
                  <a:gd name="connsiteY13" fmla="*/ 101505 h 122572"/>
                  <a:gd name="connsiteX14" fmla="*/ 93271 w 150119"/>
                  <a:gd name="connsiteY14" fmla="*/ 95121 h 122572"/>
                  <a:gd name="connsiteX15" fmla="*/ 140557 w 150119"/>
                  <a:gd name="connsiteY15" fmla="*/ 121934 h 122572"/>
                  <a:gd name="connsiteX16" fmla="*/ 143752 w 150119"/>
                  <a:gd name="connsiteY16" fmla="*/ 122573 h 122572"/>
                  <a:gd name="connsiteX17" fmla="*/ 149503 w 150119"/>
                  <a:gd name="connsiteY17" fmla="*/ 119381 h 122572"/>
                  <a:gd name="connsiteX18" fmla="*/ 146947 w 150119"/>
                  <a:gd name="connsiteY18" fmla="*/ 110443 h 122572"/>
                  <a:gd name="connsiteX19" fmla="*/ 73462 w 150119"/>
                  <a:gd name="connsiteY19" fmla="*/ 93206 h 122572"/>
                  <a:gd name="connsiteX20" fmla="*/ 63239 w 150119"/>
                  <a:gd name="connsiteY20" fmla="*/ 82992 h 122572"/>
                  <a:gd name="connsiteX21" fmla="*/ 73462 w 150119"/>
                  <a:gd name="connsiteY21" fmla="*/ 72778 h 122572"/>
                  <a:gd name="connsiteX22" fmla="*/ 83686 w 150119"/>
                  <a:gd name="connsiteY22" fmla="*/ 82992 h 122572"/>
                  <a:gd name="connsiteX23" fmla="*/ 73462 w 150119"/>
                  <a:gd name="connsiteY23" fmla="*/ 93206 h 122572"/>
                  <a:gd name="connsiteX24" fmla="*/ 73462 w 150119"/>
                  <a:gd name="connsiteY24" fmla="*/ 93206 h 122572"/>
                  <a:gd name="connsiteX25" fmla="*/ 73462 w 150119"/>
                  <a:gd name="connsiteY25" fmla="*/ 93206 h 1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0119" h="122572">
                    <a:moveTo>
                      <a:pt x="146947" y="110443"/>
                    </a:moveTo>
                    <a:lnTo>
                      <a:pt x="96466" y="81715"/>
                    </a:lnTo>
                    <a:cubicBezTo>
                      <a:pt x="96466" y="71501"/>
                      <a:pt x="89437" y="62563"/>
                      <a:pt x="79852" y="60010"/>
                    </a:cubicBezTo>
                    <a:lnTo>
                      <a:pt x="79852" y="6384"/>
                    </a:lnTo>
                    <a:cubicBezTo>
                      <a:pt x="79852" y="2554"/>
                      <a:pt x="77296" y="0"/>
                      <a:pt x="73462" y="0"/>
                    </a:cubicBezTo>
                    <a:cubicBezTo>
                      <a:pt x="69629" y="0"/>
                      <a:pt x="67072" y="2554"/>
                      <a:pt x="67072" y="6384"/>
                    </a:cubicBezTo>
                    <a:lnTo>
                      <a:pt x="67072" y="60010"/>
                    </a:lnTo>
                    <a:cubicBezTo>
                      <a:pt x="56849" y="62563"/>
                      <a:pt x="50459" y="72139"/>
                      <a:pt x="50459" y="82354"/>
                    </a:cubicBezTo>
                    <a:cubicBezTo>
                      <a:pt x="50459" y="82992"/>
                      <a:pt x="50459" y="82992"/>
                      <a:pt x="50459" y="83630"/>
                    </a:cubicBezTo>
                    <a:lnTo>
                      <a:pt x="3173" y="110443"/>
                    </a:lnTo>
                    <a:cubicBezTo>
                      <a:pt x="-22" y="112358"/>
                      <a:pt x="-661" y="116189"/>
                      <a:pt x="617" y="119381"/>
                    </a:cubicBezTo>
                    <a:cubicBezTo>
                      <a:pt x="1895" y="122573"/>
                      <a:pt x="6368" y="123211"/>
                      <a:pt x="9563" y="121934"/>
                    </a:cubicBezTo>
                    <a:lnTo>
                      <a:pt x="54931" y="96398"/>
                    </a:lnTo>
                    <a:cubicBezTo>
                      <a:pt x="62600" y="106613"/>
                      <a:pt x="76657" y="109166"/>
                      <a:pt x="87520" y="101505"/>
                    </a:cubicBezTo>
                    <a:cubicBezTo>
                      <a:pt x="90076" y="99590"/>
                      <a:pt x="91993" y="97675"/>
                      <a:pt x="93271" y="95121"/>
                    </a:cubicBezTo>
                    <a:lnTo>
                      <a:pt x="140557" y="121934"/>
                    </a:lnTo>
                    <a:cubicBezTo>
                      <a:pt x="141196" y="122573"/>
                      <a:pt x="142474" y="122573"/>
                      <a:pt x="143752" y="122573"/>
                    </a:cubicBezTo>
                    <a:cubicBezTo>
                      <a:pt x="146308" y="122573"/>
                      <a:pt x="148224" y="121296"/>
                      <a:pt x="149503" y="119381"/>
                    </a:cubicBezTo>
                    <a:cubicBezTo>
                      <a:pt x="150780" y="116189"/>
                      <a:pt x="150142" y="112358"/>
                      <a:pt x="146947" y="110443"/>
                    </a:cubicBezTo>
                    <a:close/>
                    <a:moveTo>
                      <a:pt x="73462" y="93206"/>
                    </a:moveTo>
                    <a:cubicBezTo>
                      <a:pt x="67711" y="93206"/>
                      <a:pt x="63239" y="88738"/>
                      <a:pt x="63239" y="82992"/>
                    </a:cubicBezTo>
                    <a:cubicBezTo>
                      <a:pt x="63239" y="77246"/>
                      <a:pt x="67711" y="72778"/>
                      <a:pt x="73462" y="72778"/>
                    </a:cubicBezTo>
                    <a:cubicBezTo>
                      <a:pt x="79213" y="72778"/>
                      <a:pt x="83686" y="77246"/>
                      <a:pt x="83686" y="82992"/>
                    </a:cubicBezTo>
                    <a:cubicBezTo>
                      <a:pt x="84325" y="88099"/>
                      <a:pt x="79213" y="93206"/>
                      <a:pt x="73462" y="93206"/>
                    </a:cubicBezTo>
                    <a:cubicBezTo>
                      <a:pt x="73462" y="93206"/>
                      <a:pt x="73462" y="93206"/>
                      <a:pt x="73462" y="93206"/>
                    </a:cubicBezTo>
                    <a:lnTo>
                      <a:pt x="73462" y="93206"/>
                    </a:lnTo>
                    <a:close/>
                  </a:path>
                </a:pathLst>
              </a:custGeom>
              <a:grpFill/>
              <a:ln w="6390" cap="flat">
                <a:noFill/>
                <a:prstDash val="solid"/>
                <a:miter/>
              </a:ln>
            </p:spPr>
            <p:txBody>
              <a:bodyPr rtlCol="0" anchor="ctr"/>
              <a:lstStyle/>
              <a:p>
                <a:endParaRPr lang="de-AT" noProof="0" dirty="0"/>
              </a:p>
            </p:txBody>
          </p:sp>
        </p:grpSp>
        <p:sp>
          <p:nvSpPr>
            <p:cNvPr id="155" name="Freeform 16">
              <a:extLst>
                <a:ext uri="{FF2B5EF4-FFF2-40B4-BE49-F238E27FC236}">
                  <a16:creationId xmlns:a16="http://schemas.microsoft.com/office/drawing/2014/main" id="{6DF52C79-7A11-C521-8ABF-2A8D4E011804}"/>
                </a:ext>
              </a:extLst>
            </p:cNvPr>
            <p:cNvSpPr>
              <a:spLocks noEditPoints="1"/>
            </p:cNvSpPr>
            <p:nvPr/>
          </p:nvSpPr>
          <p:spPr bwMode="auto">
            <a:xfrm>
              <a:off x="8246404" y="-181144"/>
              <a:ext cx="671039" cy="670413"/>
            </a:xfrm>
            <a:custGeom>
              <a:avLst/>
              <a:gdLst>
                <a:gd name="T0" fmla="*/ 311 w 658"/>
                <a:gd name="T1" fmla="*/ 657 h 658"/>
                <a:gd name="T2" fmla="*/ 262 w 658"/>
                <a:gd name="T3" fmla="*/ 652 h 658"/>
                <a:gd name="T4" fmla="*/ 201 w 658"/>
                <a:gd name="T5" fmla="*/ 631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2 h 658"/>
                <a:gd name="T22" fmla="*/ 96 w 658"/>
                <a:gd name="T23" fmla="*/ 96 h 658"/>
                <a:gd name="T24" fmla="*/ 172 w 658"/>
                <a:gd name="T25" fmla="*/ 40 h 658"/>
                <a:gd name="T26" fmla="*/ 247 w 658"/>
                <a:gd name="T27" fmla="*/ 10 h 658"/>
                <a:gd name="T28" fmla="*/ 295 w 658"/>
                <a:gd name="T29" fmla="*/ 1 h 658"/>
                <a:gd name="T30" fmla="*/ 329 w 658"/>
                <a:gd name="T31" fmla="*/ 0 h 658"/>
                <a:gd name="T32" fmla="*/ 379 w 658"/>
                <a:gd name="T33" fmla="*/ 4 h 658"/>
                <a:gd name="T34" fmla="*/ 426 w 658"/>
                <a:gd name="T35" fmla="*/ 14 h 658"/>
                <a:gd name="T36" fmla="*/ 513 w 658"/>
                <a:gd name="T37" fmla="*/ 56 h 658"/>
                <a:gd name="T38" fmla="*/ 583 w 658"/>
                <a:gd name="T39" fmla="*/ 119 h 658"/>
                <a:gd name="T40" fmla="*/ 631 w 658"/>
                <a:gd name="T41" fmla="*/ 201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6 w 658"/>
                <a:gd name="T67" fmla="*/ 87 h 658"/>
                <a:gd name="T68" fmla="*/ 104 w 658"/>
                <a:gd name="T69" fmla="*/ 144 h 658"/>
                <a:gd name="T70" fmla="*/ 60 w 658"/>
                <a:gd name="T71" fmla="*/ 216 h 658"/>
                <a:gd name="T72" fmla="*/ 39 w 658"/>
                <a:gd name="T73" fmla="*/ 299 h 658"/>
                <a:gd name="T74" fmla="*/ 39 w 658"/>
                <a:gd name="T75" fmla="*/ 359 h 658"/>
                <a:gd name="T76" fmla="*/ 60 w 658"/>
                <a:gd name="T77" fmla="*/ 442 h 658"/>
                <a:gd name="T78" fmla="*/ 104 w 658"/>
                <a:gd name="T79" fmla="*/ 514 h 658"/>
                <a:gd name="T80" fmla="*/ 166 w 658"/>
                <a:gd name="T81" fmla="*/ 571 h 658"/>
                <a:gd name="T82" fmla="*/ 242 w 658"/>
                <a:gd name="T83" fmla="*/ 607 h 658"/>
                <a:gd name="T84" fmla="*/ 329 w 658"/>
                <a:gd name="T85" fmla="*/ 621 h 658"/>
                <a:gd name="T86" fmla="*/ 387 w 658"/>
                <a:gd name="T87" fmla="*/ 614 h 658"/>
                <a:gd name="T88" fmla="*/ 467 w 658"/>
                <a:gd name="T89" fmla="*/ 584 h 658"/>
                <a:gd name="T90" fmla="*/ 535 w 658"/>
                <a:gd name="T91" fmla="*/ 535 h 658"/>
                <a:gd name="T92" fmla="*/ 584 w 658"/>
                <a:gd name="T93" fmla="*/ 467 h 658"/>
                <a:gd name="T94" fmla="*/ 614 w 658"/>
                <a:gd name="T95" fmla="*/ 388 h 658"/>
                <a:gd name="T96" fmla="*/ 621 w 658"/>
                <a:gd name="T97" fmla="*/ 329 h 658"/>
                <a:gd name="T98" fmla="*/ 607 w 658"/>
                <a:gd name="T99" fmla="*/ 242 h 658"/>
                <a:gd name="T100" fmla="*/ 570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6"/>
                  </a:lnTo>
                  <a:lnTo>
                    <a:pt x="279" y="654"/>
                  </a:lnTo>
                  <a:lnTo>
                    <a:pt x="262" y="652"/>
                  </a:lnTo>
                  <a:lnTo>
                    <a:pt x="247" y="648"/>
                  </a:lnTo>
                  <a:lnTo>
                    <a:pt x="231" y="644"/>
                  </a:lnTo>
                  <a:lnTo>
                    <a:pt x="201" y="631"/>
                  </a:lnTo>
                  <a:lnTo>
                    <a:pt x="172" y="618"/>
                  </a:lnTo>
                  <a:lnTo>
                    <a:pt x="145" y="602"/>
                  </a:lnTo>
                  <a:lnTo>
                    <a:pt x="119" y="583"/>
                  </a:lnTo>
                  <a:lnTo>
                    <a:pt x="96" y="562"/>
                  </a:lnTo>
                  <a:lnTo>
                    <a:pt x="75" y="537"/>
                  </a:lnTo>
                  <a:lnTo>
                    <a:pt x="56" y="513"/>
                  </a:lnTo>
                  <a:lnTo>
                    <a:pt x="40" y="485"/>
                  </a:lnTo>
                  <a:lnTo>
                    <a:pt x="25" y="457"/>
                  </a:lnTo>
                  <a:lnTo>
                    <a:pt x="14" y="427"/>
                  </a:lnTo>
                  <a:lnTo>
                    <a:pt x="10" y="411"/>
                  </a:lnTo>
                  <a:lnTo>
                    <a:pt x="6" y="395"/>
                  </a:lnTo>
                  <a:lnTo>
                    <a:pt x="4" y="379"/>
                  </a:lnTo>
                  <a:lnTo>
                    <a:pt x="1" y="363"/>
                  </a:lnTo>
                  <a:lnTo>
                    <a:pt x="0" y="345"/>
                  </a:lnTo>
                  <a:lnTo>
                    <a:pt x="0" y="329"/>
                  </a:lnTo>
                  <a:lnTo>
                    <a:pt x="0" y="329"/>
                  </a:lnTo>
                  <a:lnTo>
                    <a:pt x="0" y="312"/>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2" y="40"/>
                  </a:lnTo>
                  <a:lnTo>
                    <a:pt x="201" y="25"/>
                  </a:lnTo>
                  <a:lnTo>
                    <a:pt x="231" y="14"/>
                  </a:lnTo>
                  <a:lnTo>
                    <a:pt x="247" y="10"/>
                  </a:lnTo>
                  <a:lnTo>
                    <a:pt x="262" y="6"/>
                  </a:lnTo>
                  <a:lnTo>
                    <a:pt x="279" y="4"/>
                  </a:lnTo>
                  <a:lnTo>
                    <a:pt x="295" y="1"/>
                  </a:lnTo>
                  <a:lnTo>
                    <a:pt x="311" y="0"/>
                  </a:lnTo>
                  <a:lnTo>
                    <a:pt x="329" y="0"/>
                  </a:lnTo>
                  <a:lnTo>
                    <a:pt x="329" y="0"/>
                  </a:lnTo>
                  <a:lnTo>
                    <a:pt x="345" y="0"/>
                  </a:lnTo>
                  <a:lnTo>
                    <a:pt x="363" y="1"/>
                  </a:lnTo>
                  <a:lnTo>
                    <a:pt x="379" y="4"/>
                  </a:lnTo>
                  <a:lnTo>
                    <a:pt x="395" y="6"/>
                  </a:lnTo>
                  <a:lnTo>
                    <a:pt x="411" y="10"/>
                  </a:lnTo>
                  <a:lnTo>
                    <a:pt x="426" y="14"/>
                  </a:lnTo>
                  <a:lnTo>
                    <a:pt x="457" y="25"/>
                  </a:lnTo>
                  <a:lnTo>
                    <a:pt x="485" y="40"/>
                  </a:lnTo>
                  <a:lnTo>
                    <a:pt x="513" y="56"/>
                  </a:lnTo>
                  <a:lnTo>
                    <a:pt x="537" y="75"/>
                  </a:lnTo>
                  <a:lnTo>
                    <a:pt x="561" y="96"/>
                  </a:lnTo>
                  <a:lnTo>
                    <a:pt x="583" y="119"/>
                  </a:lnTo>
                  <a:lnTo>
                    <a:pt x="602" y="145"/>
                  </a:lnTo>
                  <a:lnTo>
                    <a:pt x="618" y="172"/>
                  </a:lnTo>
                  <a:lnTo>
                    <a:pt x="631" y="201"/>
                  </a:lnTo>
                  <a:lnTo>
                    <a:pt x="643" y="231"/>
                  </a:lnTo>
                  <a:lnTo>
                    <a:pt x="647" y="247"/>
                  </a:lnTo>
                  <a:lnTo>
                    <a:pt x="651" y="263"/>
                  </a:lnTo>
                  <a:lnTo>
                    <a:pt x="654" y="279"/>
                  </a:lnTo>
                  <a:lnTo>
                    <a:pt x="656" y="295"/>
                  </a:lnTo>
                  <a:lnTo>
                    <a:pt x="657" y="312"/>
                  </a:lnTo>
                  <a:lnTo>
                    <a:pt x="658" y="329"/>
                  </a:lnTo>
                  <a:lnTo>
                    <a:pt x="658" y="329"/>
                  </a:lnTo>
                  <a:lnTo>
                    <a:pt x="657" y="345"/>
                  </a:lnTo>
                  <a:lnTo>
                    <a:pt x="656" y="363"/>
                  </a:lnTo>
                  <a:lnTo>
                    <a:pt x="654" y="379"/>
                  </a:lnTo>
                  <a:lnTo>
                    <a:pt x="651" y="395"/>
                  </a:lnTo>
                  <a:lnTo>
                    <a:pt x="647" y="411"/>
                  </a:lnTo>
                  <a:lnTo>
                    <a:pt x="643" y="427"/>
                  </a:lnTo>
                  <a:lnTo>
                    <a:pt x="631" y="457"/>
                  </a:lnTo>
                  <a:lnTo>
                    <a:pt x="618" y="485"/>
                  </a:lnTo>
                  <a:lnTo>
                    <a:pt x="602" y="513"/>
                  </a:lnTo>
                  <a:lnTo>
                    <a:pt x="583" y="537"/>
                  </a:lnTo>
                  <a:lnTo>
                    <a:pt x="561"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7"/>
                  </a:moveTo>
                  <a:lnTo>
                    <a:pt x="329" y="37"/>
                  </a:lnTo>
                  <a:lnTo>
                    <a:pt x="299" y="39"/>
                  </a:lnTo>
                  <a:lnTo>
                    <a:pt x="270" y="44"/>
                  </a:lnTo>
                  <a:lnTo>
                    <a:pt x="242" y="51"/>
                  </a:lnTo>
                  <a:lnTo>
                    <a:pt x="215" y="60"/>
                  </a:lnTo>
                  <a:lnTo>
                    <a:pt x="191" y="72"/>
                  </a:lnTo>
                  <a:lnTo>
                    <a:pt x="166" y="87"/>
                  </a:lnTo>
                  <a:lnTo>
                    <a:pt x="143" y="105"/>
                  </a:lnTo>
                  <a:lnTo>
                    <a:pt x="123" y="123"/>
                  </a:lnTo>
                  <a:lnTo>
                    <a:pt x="104" y="144"/>
                  </a:lnTo>
                  <a:lnTo>
                    <a:pt x="87" y="166"/>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2"/>
                  </a:lnTo>
                  <a:lnTo>
                    <a:pt x="104" y="514"/>
                  </a:lnTo>
                  <a:lnTo>
                    <a:pt x="123" y="535"/>
                  </a:lnTo>
                  <a:lnTo>
                    <a:pt x="143" y="553"/>
                  </a:lnTo>
                  <a:lnTo>
                    <a:pt x="166" y="571"/>
                  </a:lnTo>
                  <a:lnTo>
                    <a:pt x="191"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7" y="584"/>
                  </a:lnTo>
                  <a:lnTo>
                    <a:pt x="492" y="571"/>
                  </a:lnTo>
                  <a:lnTo>
                    <a:pt x="514" y="553"/>
                  </a:lnTo>
                  <a:lnTo>
                    <a:pt x="535" y="535"/>
                  </a:lnTo>
                  <a:lnTo>
                    <a:pt x="553" y="514"/>
                  </a:lnTo>
                  <a:lnTo>
                    <a:pt x="570" y="492"/>
                  </a:lnTo>
                  <a:lnTo>
                    <a:pt x="584" y="467"/>
                  </a:lnTo>
                  <a:lnTo>
                    <a:pt x="596" y="442"/>
                  </a:lnTo>
                  <a:lnTo>
                    <a:pt x="607" y="415"/>
                  </a:lnTo>
                  <a:lnTo>
                    <a:pt x="614" y="388"/>
                  </a:lnTo>
                  <a:lnTo>
                    <a:pt x="618" y="359"/>
                  </a:lnTo>
                  <a:lnTo>
                    <a:pt x="621" y="329"/>
                  </a:lnTo>
                  <a:lnTo>
                    <a:pt x="621" y="329"/>
                  </a:lnTo>
                  <a:lnTo>
                    <a:pt x="618" y="299"/>
                  </a:lnTo>
                  <a:lnTo>
                    <a:pt x="614" y="270"/>
                  </a:lnTo>
                  <a:lnTo>
                    <a:pt x="607" y="242"/>
                  </a:lnTo>
                  <a:lnTo>
                    <a:pt x="596" y="216"/>
                  </a:lnTo>
                  <a:lnTo>
                    <a:pt x="584" y="191"/>
                  </a:lnTo>
                  <a:lnTo>
                    <a:pt x="570" y="166"/>
                  </a:lnTo>
                  <a:lnTo>
                    <a:pt x="553" y="144"/>
                  </a:lnTo>
                  <a:lnTo>
                    <a:pt x="535" y="123"/>
                  </a:lnTo>
                  <a:lnTo>
                    <a:pt x="514" y="105"/>
                  </a:lnTo>
                  <a:lnTo>
                    <a:pt x="492" y="87"/>
                  </a:lnTo>
                  <a:lnTo>
                    <a:pt x="467" y="72"/>
                  </a:lnTo>
                  <a:lnTo>
                    <a:pt x="442" y="60"/>
                  </a:lnTo>
                  <a:lnTo>
                    <a:pt x="415" y="51"/>
                  </a:lnTo>
                  <a:lnTo>
                    <a:pt x="387" y="44"/>
                  </a:lnTo>
                  <a:lnTo>
                    <a:pt x="359" y="39"/>
                  </a:lnTo>
                  <a:lnTo>
                    <a:pt x="329" y="37"/>
                  </a:lnTo>
                  <a:lnTo>
                    <a:pt x="329"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grpSp>
      <p:grpSp>
        <p:nvGrpSpPr>
          <p:cNvPr id="160" name="Group 159">
            <a:extLst>
              <a:ext uri="{FF2B5EF4-FFF2-40B4-BE49-F238E27FC236}">
                <a16:creationId xmlns:a16="http://schemas.microsoft.com/office/drawing/2014/main" id="{9F2E3B26-B323-DE03-2EB7-228247E7D83B}"/>
              </a:ext>
            </a:extLst>
          </p:cNvPr>
          <p:cNvGrpSpPr>
            <a:grpSpLocks/>
          </p:cNvGrpSpPr>
          <p:nvPr/>
        </p:nvGrpSpPr>
        <p:grpSpPr>
          <a:xfrm>
            <a:off x="4935316" y="3876541"/>
            <a:ext cx="540000" cy="540000"/>
            <a:chOff x="6015966" y="-193878"/>
            <a:chExt cx="671039" cy="670413"/>
          </a:xfrm>
        </p:grpSpPr>
        <p:grpSp>
          <p:nvGrpSpPr>
            <p:cNvPr id="47" name="Group 46">
              <a:extLst>
                <a:ext uri="{FF2B5EF4-FFF2-40B4-BE49-F238E27FC236}">
                  <a16:creationId xmlns:a16="http://schemas.microsoft.com/office/drawing/2014/main" id="{5043FC94-70D9-DBE5-A9CC-21DE88E01CFF}"/>
                </a:ext>
              </a:extLst>
            </p:cNvPr>
            <p:cNvGrpSpPr>
              <a:grpSpLocks/>
            </p:cNvGrpSpPr>
            <p:nvPr/>
          </p:nvGrpSpPr>
          <p:grpSpPr>
            <a:xfrm>
              <a:off x="6203303" y="-47410"/>
              <a:ext cx="296307" cy="377532"/>
              <a:chOff x="6870819" y="4007030"/>
              <a:chExt cx="235236" cy="300000"/>
            </a:xfrm>
            <a:solidFill>
              <a:schemeClr val="accent3"/>
            </a:solidFill>
          </p:grpSpPr>
          <p:sp>
            <p:nvSpPr>
              <p:cNvPr id="48" name="Graphic 4">
                <a:extLst>
                  <a:ext uri="{FF2B5EF4-FFF2-40B4-BE49-F238E27FC236}">
                    <a16:creationId xmlns:a16="http://schemas.microsoft.com/office/drawing/2014/main" id="{CCEF2C75-2281-C158-2491-6912AD6D69EA}"/>
                  </a:ext>
                </a:extLst>
              </p:cNvPr>
              <p:cNvSpPr/>
              <p:nvPr/>
            </p:nvSpPr>
            <p:spPr>
              <a:xfrm>
                <a:off x="6924080" y="4049887"/>
                <a:ext cx="126737" cy="73333"/>
              </a:xfrm>
              <a:custGeom>
                <a:avLst/>
                <a:gdLst>
                  <a:gd name="connsiteX0" fmla="*/ 12828 w 85034"/>
                  <a:gd name="connsiteY0" fmla="*/ 49157 h 49156"/>
                  <a:gd name="connsiteX1" fmla="*/ 72255 w 85034"/>
                  <a:gd name="connsiteY1" fmla="*/ 49157 h 49156"/>
                  <a:gd name="connsiteX2" fmla="*/ 85035 w 85034"/>
                  <a:gd name="connsiteY2" fmla="*/ 36389 h 49156"/>
                  <a:gd name="connsiteX3" fmla="*/ 85035 w 85034"/>
                  <a:gd name="connsiteY3" fmla="*/ 12768 h 49156"/>
                  <a:gd name="connsiteX4" fmla="*/ 72255 w 85034"/>
                  <a:gd name="connsiteY4" fmla="*/ 0 h 49156"/>
                  <a:gd name="connsiteX5" fmla="*/ 12828 w 85034"/>
                  <a:gd name="connsiteY5" fmla="*/ 0 h 49156"/>
                  <a:gd name="connsiteX6" fmla="*/ 49 w 85034"/>
                  <a:gd name="connsiteY6" fmla="*/ 12768 h 49156"/>
                  <a:gd name="connsiteX7" fmla="*/ 49 w 85034"/>
                  <a:gd name="connsiteY7" fmla="*/ 36389 h 49156"/>
                  <a:gd name="connsiteX8" fmla="*/ 12828 w 85034"/>
                  <a:gd name="connsiteY8" fmla="*/ 49157 h 49156"/>
                  <a:gd name="connsiteX9" fmla="*/ 12828 w 85034"/>
                  <a:gd name="connsiteY9" fmla="*/ 49157 h 49156"/>
                  <a:gd name="connsiteX10" fmla="*/ 12828 w 85034"/>
                  <a:gd name="connsiteY10" fmla="*/ 12768 h 49156"/>
                  <a:gd name="connsiteX11" fmla="*/ 72255 w 85034"/>
                  <a:gd name="connsiteY11" fmla="*/ 12768 h 49156"/>
                  <a:gd name="connsiteX12" fmla="*/ 72255 w 85034"/>
                  <a:gd name="connsiteY12" fmla="*/ 36389 h 49156"/>
                  <a:gd name="connsiteX13" fmla="*/ 12828 w 85034"/>
                  <a:gd name="connsiteY13" fmla="*/ 36389 h 49156"/>
                  <a:gd name="connsiteX14" fmla="*/ 12828 w 85034"/>
                  <a:gd name="connsiteY14" fmla="*/ 12768 h 4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034" h="49156">
                    <a:moveTo>
                      <a:pt x="12828" y="49157"/>
                    </a:moveTo>
                    <a:lnTo>
                      <a:pt x="72255" y="49157"/>
                    </a:lnTo>
                    <a:cubicBezTo>
                      <a:pt x="79284" y="49157"/>
                      <a:pt x="85035" y="43411"/>
                      <a:pt x="85035" y="36389"/>
                    </a:cubicBezTo>
                    <a:lnTo>
                      <a:pt x="85035" y="12768"/>
                    </a:lnTo>
                    <a:cubicBezTo>
                      <a:pt x="85035" y="5746"/>
                      <a:pt x="79284" y="0"/>
                      <a:pt x="72255" y="0"/>
                    </a:cubicBezTo>
                    <a:lnTo>
                      <a:pt x="12828" y="0"/>
                    </a:lnTo>
                    <a:cubicBezTo>
                      <a:pt x="5799" y="0"/>
                      <a:pt x="49" y="5746"/>
                      <a:pt x="49" y="12768"/>
                    </a:cubicBezTo>
                    <a:lnTo>
                      <a:pt x="49" y="36389"/>
                    </a:lnTo>
                    <a:cubicBezTo>
                      <a:pt x="-591" y="43411"/>
                      <a:pt x="5160" y="49157"/>
                      <a:pt x="12828" y="49157"/>
                    </a:cubicBezTo>
                    <a:cubicBezTo>
                      <a:pt x="12189" y="49157"/>
                      <a:pt x="12189" y="49157"/>
                      <a:pt x="12828" y="49157"/>
                    </a:cubicBezTo>
                    <a:close/>
                    <a:moveTo>
                      <a:pt x="12828" y="12768"/>
                    </a:moveTo>
                    <a:lnTo>
                      <a:pt x="72255" y="12768"/>
                    </a:lnTo>
                    <a:lnTo>
                      <a:pt x="72255" y="36389"/>
                    </a:lnTo>
                    <a:lnTo>
                      <a:pt x="12828" y="36389"/>
                    </a:lnTo>
                    <a:lnTo>
                      <a:pt x="12828" y="12768"/>
                    </a:lnTo>
                    <a:close/>
                  </a:path>
                </a:pathLst>
              </a:custGeom>
              <a:grpFill/>
              <a:ln w="6390" cap="flat">
                <a:noFill/>
                <a:prstDash val="solid"/>
                <a:miter/>
              </a:ln>
            </p:spPr>
            <p:txBody>
              <a:bodyPr rtlCol="0" anchor="ctr"/>
              <a:lstStyle/>
              <a:p>
                <a:endParaRPr lang="de-AT" noProof="0" dirty="0"/>
              </a:p>
            </p:txBody>
          </p:sp>
          <p:sp>
            <p:nvSpPr>
              <p:cNvPr id="49" name="Graphic 4">
                <a:extLst>
                  <a:ext uri="{FF2B5EF4-FFF2-40B4-BE49-F238E27FC236}">
                    <a16:creationId xmlns:a16="http://schemas.microsoft.com/office/drawing/2014/main" id="{794B5DC1-CC61-9B1C-9FFE-B2D125E7A9C6}"/>
                  </a:ext>
                </a:extLst>
              </p:cNvPr>
              <p:cNvSpPr/>
              <p:nvPr/>
            </p:nvSpPr>
            <p:spPr>
              <a:xfrm>
                <a:off x="6916532" y="4151793"/>
                <a:ext cx="53332" cy="53333"/>
              </a:xfrm>
              <a:custGeom>
                <a:avLst/>
                <a:gdLst>
                  <a:gd name="connsiteX0" fmla="*/ 35783 w 35783"/>
                  <a:gd name="connsiteY0" fmla="*/ 17875 h 35750"/>
                  <a:gd name="connsiteX1" fmla="*/ 17892 w 35783"/>
                  <a:gd name="connsiteY1" fmla="*/ 0 h 35750"/>
                  <a:gd name="connsiteX2" fmla="*/ 0 w 35783"/>
                  <a:gd name="connsiteY2" fmla="*/ 17875 h 35750"/>
                  <a:gd name="connsiteX3" fmla="*/ 17892 w 35783"/>
                  <a:gd name="connsiteY3" fmla="*/ 35750 h 35750"/>
                  <a:gd name="connsiteX4" fmla="*/ 35783 w 35783"/>
                  <a:gd name="connsiteY4" fmla="*/ 17875 h 35750"/>
                  <a:gd name="connsiteX5" fmla="*/ 35783 w 35783"/>
                  <a:gd name="connsiteY5" fmla="*/ 17875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83" h="35750">
                    <a:moveTo>
                      <a:pt x="35783" y="17875"/>
                    </a:moveTo>
                    <a:cubicBezTo>
                      <a:pt x="35783" y="8299"/>
                      <a:pt x="28115" y="0"/>
                      <a:pt x="17892" y="0"/>
                    </a:cubicBezTo>
                    <a:cubicBezTo>
                      <a:pt x="8307" y="0"/>
                      <a:pt x="0" y="7661"/>
                      <a:pt x="0" y="17875"/>
                    </a:cubicBezTo>
                    <a:cubicBezTo>
                      <a:pt x="0" y="27451"/>
                      <a:pt x="7668" y="35750"/>
                      <a:pt x="17892" y="35750"/>
                    </a:cubicBezTo>
                    <a:cubicBezTo>
                      <a:pt x="28115" y="35750"/>
                      <a:pt x="35783" y="27451"/>
                      <a:pt x="35783" y="17875"/>
                    </a:cubicBezTo>
                    <a:lnTo>
                      <a:pt x="35783" y="17875"/>
                    </a:lnTo>
                    <a:close/>
                  </a:path>
                </a:pathLst>
              </a:custGeom>
              <a:grpFill/>
              <a:ln w="6390" cap="flat">
                <a:noFill/>
                <a:prstDash val="solid"/>
                <a:miter/>
              </a:ln>
            </p:spPr>
            <p:txBody>
              <a:bodyPr rtlCol="0" anchor="ctr"/>
              <a:lstStyle/>
              <a:p>
                <a:endParaRPr lang="de-AT" noProof="0" dirty="0"/>
              </a:p>
            </p:txBody>
          </p:sp>
          <p:sp>
            <p:nvSpPr>
              <p:cNvPr id="50" name="Graphic 4">
                <a:extLst>
                  <a:ext uri="{FF2B5EF4-FFF2-40B4-BE49-F238E27FC236}">
                    <a16:creationId xmlns:a16="http://schemas.microsoft.com/office/drawing/2014/main" id="{F5B739C0-EE14-0B1F-0E88-44A1B5CADA1D}"/>
                  </a:ext>
                </a:extLst>
              </p:cNvPr>
              <p:cNvSpPr/>
              <p:nvPr/>
            </p:nvSpPr>
            <p:spPr>
              <a:xfrm>
                <a:off x="7003199" y="4151793"/>
                <a:ext cx="53332" cy="53333"/>
              </a:xfrm>
              <a:custGeom>
                <a:avLst/>
                <a:gdLst>
                  <a:gd name="connsiteX0" fmla="*/ 17892 w 35783"/>
                  <a:gd name="connsiteY0" fmla="*/ 0 h 35750"/>
                  <a:gd name="connsiteX1" fmla="*/ 0 w 35783"/>
                  <a:gd name="connsiteY1" fmla="*/ 17875 h 35750"/>
                  <a:gd name="connsiteX2" fmla="*/ 17892 w 35783"/>
                  <a:gd name="connsiteY2" fmla="*/ 35750 h 35750"/>
                  <a:gd name="connsiteX3" fmla="*/ 35783 w 35783"/>
                  <a:gd name="connsiteY3" fmla="*/ 17875 h 35750"/>
                  <a:gd name="connsiteX4" fmla="*/ 35783 w 35783"/>
                  <a:gd name="connsiteY4" fmla="*/ 17875 h 35750"/>
                  <a:gd name="connsiteX5" fmla="*/ 17892 w 35783"/>
                  <a:gd name="connsiteY5" fmla="*/ 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83" h="35750">
                    <a:moveTo>
                      <a:pt x="17892" y="0"/>
                    </a:moveTo>
                    <a:cubicBezTo>
                      <a:pt x="8307" y="0"/>
                      <a:pt x="0" y="7661"/>
                      <a:pt x="0" y="17875"/>
                    </a:cubicBezTo>
                    <a:cubicBezTo>
                      <a:pt x="0" y="27451"/>
                      <a:pt x="7668" y="35750"/>
                      <a:pt x="17892" y="35750"/>
                    </a:cubicBezTo>
                    <a:cubicBezTo>
                      <a:pt x="27477" y="35750"/>
                      <a:pt x="35783" y="28089"/>
                      <a:pt x="35783" y="17875"/>
                    </a:cubicBezTo>
                    <a:cubicBezTo>
                      <a:pt x="35783" y="17875"/>
                      <a:pt x="35783" y="17875"/>
                      <a:pt x="35783" y="17875"/>
                    </a:cubicBezTo>
                    <a:cubicBezTo>
                      <a:pt x="35783" y="8299"/>
                      <a:pt x="28116" y="0"/>
                      <a:pt x="17892" y="0"/>
                    </a:cubicBezTo>
                    <a:close/>
                  </a:path>
                </a:pathLst>
              </a:custGeom>
              <a:grpFill/>
              <a:ln w="6390" cap="flat">
                <a:noFill/>
                <a:prstDash val="solid"/>
                <a:miter/>
              </a:ln>
            </p:spPr>
            <p:txBody>
              <a:bodyPr rtlCol="0" anchor="ctr"/>
              <a:lstStyle/>
              <a:p>
                <a:endParaRPr lang="de-AT" noProof="0" dirty="0"/>
              </a:p>
            </p:txBody>
          </p:sp>
          <p:sp>
            <p:nvSpPr>
              <p:cNvPr id="51" name="Graphic 4">
                <a:extLst>
                  <a:ext uri="{FF2B5EF4-FFF2-40B4-BE49-F238E27FC236}">
                    <a16:creationId xmlns:a16="http://schemas.microsoft.com/office/drawing/2014/main" id="{EA36FB17-58C8-CF5F-2EC6-6F91EBB95433}"/>
                  </a:ext>
                </a:extLst>
              </p:cNvPr>
              <p:cNvSpPr/>
              <p:nvPr/>
            </p:nvSpPr>
            <p:spPr>
              <a:xfrm>
                <a:off x="6870819" y="4007030"/>
                <a:ext cx="235236" cy="300000"/>
              </a:xfrm>
              <a:custGeom>
                <a:avLst/>
                <a:gdLst>
                  <a:gd name="connsiteX0" fmla="*/ 140578 w 157831"/>
                  <a:gd name="connsiteY0" fmla="*/ 175560 h 201095"/>
                  <a:gd name="connsiteX1" fmla="*/ 140578 w 157831"/>
                  <a:gd name="connsiteY1" fmla="*/ 175560 h 201095"/>
                  <a:gd name="connsiteX2" fmla="*/ 120131 w 157831"/>
                  <a:gd name="connsiteY2" fmla="*/ 155131 h 201095"/>
                  <a:gd name="connsiteX3" fmla="*/ 149524 w 157831"/>
                  <a:gd name="connsiteY3" fmla="*/ 121934 h 201095"/>
                  <a:gd name="connsiteX4" fmla="*/ 149524 w 157831"/>
                  <a:gd name="connsiteY4" fmla="*/ 35112 h 201095"/>
                  <a:gd name="connsiteX5" fmla="*/ 114380 w 157831"/>
                  <a:gd name="connsiteY5" fmla="*/ 0 h 201095"/>
                  <a:gd name="connsiteX6" fmla="*/ 42174 w 157831"/>
                  <a:gd name="connsiteY6" fmla="*/ 0 h 201095"/>
                  <a:gd name="connsiteX7" fmla="*/ 7029 w 157831"/>
                  <a:gd name="connsiteY7" fmla="*/ 35112 h 201095"/>
                  <a:gd name="connsiteX8" fmla="*/ 7029 w 157831"/>
                  <a:gd name="connsiteY8" fmla="*/ 121934 h 201095"/>
                  <a:gd name="connsiteX9" fmla="*/ 35144 w 157831"/>
                  <a:gd name="connsiteY9" fmla="*/ 156408 h 201095"/>
                  <a:gd name="connsiteX10" fmla="*/ 16614 w 157831"/>
                  <a:gd name="connsiteY10" fmla="*/ 175560 h 201095"/>
                  <a:gd name="connsiteX11" fmla="*/ 16614 w 157831"/>
                  <a:gd name="connsiteY11" fmla="*/ 175560 h 201095"/>
                  <a:gd name="connsiteX12" fmla="*/ 1917 w 157831"/>
                  <a:gd name="connsiteY12" fmla="*/ 190243 h 201095"/>
                  <a:gd name="connsiteX13" fmla="*/ 1917 w 157831"/>
                  <a:gd name="connsiteY13" fmla="*/ 199180 h 201095"/>
                  <a:gd name="connsiteX14" fmla="*/ 10863 w 157831"/>
                  <a:gd name="connsiteY14" fmla="*/ 199180 h 201095"/>
                  <a:gd name="connsiteX15" fmla="*/ 23643 w 157831"/>
                  <a:gd name="connsiteY15" fmla="*/ 186412 h 201095"/>
                  <a:gd name="connsiteX16" fmla="*/ 134188 w 157831"/>
                  <a:gd name="connsiteY16" fmla="*/ 186412 h 201095"/>
                  <a:gd name="connsiteX17" fmla="*/ 146968 w 157831"/>
                  <a:gd name="connsiteY17" fmla="*/ 199180 h 201095"/>
                  <a:gd name="connsiteX18" fmla="*/ 155914 w 157831"/>
                  <a:gd name="connsiteY18" fmla="*/ 199180 h 201095"/>
                  <a:gd name="connsiteX19" fmla="*/ 155914 w 157831"/>
                  <a:gd name="connsiteY19" fmla="*/ 190243 h 201095"/>
                  <a:gd name="connsiteX20" fmla="*/ 140578 w 157831"/>
                  <a:gd name="connsiteY20" fmla="*/ 175560 h 201095"/>
                  <a:gd name="connsiteX21" fmla="*/ 19170 w 157831"/>
                  <a:gd name="connsiteY21" fmla="*/ 121934 h 201095"/>
                  <a:gd name="connsiteX22" fmla="*/ 19170 w 157831"/>
                  <a:gd name="connsiteY22" fmla="*/ 35112 h 201095"/>
                  <a:gd name="connsiteX23" fmla="*/ 41534 w 157831"/>
                  <a:gd name="connsiteY23" fmla="*/ 12768 h 201095"/>
                  <a:gd name="connsiteX24" fmla="*/ 113741 w 157831"/>
                  <a:gd name="connsiteY24" fmla="*/ 12768 h 201095"/>
                  <a:gd name="connsiteX25" fmla="*/ 136106 w 157831"/>
                  <a:gd name="connsiteY25" fmla="*/ 35112 h 201095"/>
                  <a:gd name="connsiteX26" fmla="*/ 136106 w 157831"/>
                  <a:gd name="connsiteY26" fmla="*/ 121934 h 201095"/>
                  <a:gd name="connsiteX27" fmla="*/ 106073 w 157831"/>
                  <a:gd name="connsiteY27" fmla="*/ 144278 h 201095"/>
                  <a:gd name="connsiteX28" fmla="*/ 40896 w 157831"/>
                  <a:gd name="connsiteY28" fmla="*/ 144278 h 201095"/>
                  <a:gd name="connsiteX29" fmla="*/ 19170 w 157831"/>
                  <a:gd name="connsiteY29" fmla="*/ 121934 h 201095"/>
                  <a:gd name="connsiteX30" fmla="*/ 19170 w 157831"/>
                  <a:gd name="connsiteY30" fmla="*/ 121934 h 201095"/>
                  <a:gd name="connsiteX31" fmla="*/ 35144 w 157831"/>
                  <a:gd name="connsiteY31" fmla="*/ 173644 h 201095"/>
                  <a:gd name="connsiteX32" fmla="*/ 51119 w 157831"/>
                  <a:gd name="connsiteY32" fmla="*/ 157684 h 201095"/>
                  <a:gd name="connsiteX33" fmla="*/ 103517 w 157831"/>
                  <a:gd name="connsiteY33" fmla="*/ 157684 h 201095"/>
                  <a:gd name="connsiteX34" fmla="*/ 119492 w 157831"/>
                  <a:gd name="connsiteY34" fmla="*/ 173644 h 201095"/>
                  <a:gd name="connsiteX35" fmla="*/ 35144 w 157831"/>
                  <a:gd name="connsiteY35" fmla="*/ 173644 h 20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7831" h="201095">
                    <a:moveTo>
                      <a:pt x="140578" y="175560"/>
                    </a:moveTo>
                    <a:lnTo>
                      <a:pt x="140578" y="175560"/>
                    </a:lnTo>
                    <a:lnTo>
                      <a:pt x="120131" y="155131"/>
                    </a:lnTo>
                    <a:cubicBezTo>
                      <a:pt x="135467" y="150024"/>
                      <a:pt x="149524" y="137256"/>
                      <a:pt x="149524" y="121934"/>
                    </a:cubicBezTo>
                    <a:lnTo>
                      <a:pt x="149524" y="35112"/>
                    </a:lnTo>
                    <a:cubicBezTo>
                      <a:pt x="149524" y="15322"/>
                      <a:pt x="133550" y="0"/>
                      <a:pt x="114380" y="0"/>
                    </a:cubicBezTo>
                    <a:lnTo>
                      <a:pt x="42174" y="0"/>
                    </a:lnTo>
                    <a:cubicBezTo>
                      <a:pt x="22365" y="0"/>
                      <a:pt x="7029" y="15960"/>
                      <a:pt x="7029" y="35112"/>
                    </a:cubicBezTo>
                    <a:lnTo>
                      <a:pt x="7029" y="121934"/>
                    </a:lnTo>
                    <a:cubicBezTo>
                      <a:pt x="7029" y="138533"/>
                      <a:pt x="18531" y="153216"/>
                      <a:pt x="35144" y="156408"/>
                    </a:cubicBezTo>
                    <a:lnTo>
                      <a:pt x="16614" y="175560"/>
                    </a:lnTo>
                    <a:lnTo>
                      <a:pt x="16614" y="175560"/>
                    </a:lnTo>
                    <a:lnTo>
                      <a:pt x="1917" y="190243"/>
                    </a:lnTo>
                    <a:cubicBezTo>
                      <a:pt x="-639" y="192796"/>
                      <a:pt x="-639" y="196627"/>
                      <a:pt x="1917" y="199180"/>
                    </a:cubicBezTo>
                    <a:cubicBezTo>
                      <a:pt x="4473" y="201734"/>
                      <a:pt x="8307" y="201734"/>
                      <a:pt x="10863" y="199180"/>
                    </a:cubicBezTo>
                    <a:lnTo>
                      <a:pt x="23643" y="186412"/>
                    </a:lnTo>
                    <a:lnTo>
                      <a:pt x="134188" y="186412"/>
                    </a:lnTo>
                    <a:lnTo>
                      <a:pt x="146968" y="199180"/>
                    </a:lnTo>
                    <a:cubicBezTo>
                      <a:pt x="149524" y="201734"/>
                      <a:pt x="153358" y="201734"/>
                      <a:pt x="155914" y="199180"/>
                    </a:cubicBezTo>
                    <a:cubicBezTo>
                      <a:pt x="158471" y="196627"/>
                      <a:pt x="158471" y="192796"/>
                      <a:pt x="155914" y="190243"/>
                    </a:cubicBezTo>
                    <a:lnTo>
                      <a:pt x="140578" y="175560"/>
                    </a:lnTo>
                    <a:close/>
                    <a:moveTo>
                      <a:pt x="19170" y="121934"/>
                    </a:moveTo>
                    <a:lnTo>
                      <a:pt x="19170" y="35112"/>
                    </a:lnTo>
                    <a:cubicBezTo>
                      <a:pt x="19170" y="22982"/>
                      <a:pt x="29394" y="12768"/>
                      <a:pt x="41534" y="12768"/>
                    </a:cubicBezTo>
                    <a:lnTo>
                      <a:pt x="113741" y="12768"/>
                    </a:lnTo>
                    <a:cubicBezTo>
                      <a:pt x="126521" y="12768"/>
                      <a:pt x="136106" y="22982"/>
                      <a:pt x="136106" y="35112"/>
                    </a:cubicBezTo>
                    <a:lnTo>
                      <a:pt x="136106" y="121934"/>
                    </a:lnTo>
                    <a:cubicBezTo>
                      <a:pt x="136106" y="133425"/>
                      <a:pt x="119492" y="144278"/>
                      <a:pt x="106073" y="144278"/>
                    </a:cubicBezTo>
                    <a:lnTo>
                      <a:pt x="40896" y="144278"/>
                    </a:lnTo>
                    <a:cubicBezTo>
                      <a:pt x="29394" y="144278"/>
                      <a:pt x="19170" y="134702"/>
                      <a:pt x="19170" y="121934"/>
                    </a:cubicBezTo>
                    <a:lnTo>
                      <a:pt x="19170" y="121934"/>
                    </a:lnTo>
                    <a:close/>
                    <a:moveTo>
                      <a:pt x="35144" y="173644"/>
                    </a:moveTo>
                    <a:lnTo>
                      <a:pt x="51119" y="157684"/>
                    </a:lnTo>
                    <a:lnTo>
                      <a:pt x="103517" y="157684"/>
                    </a:lnTo>
                    <a:lnTo>
                      <a:pt x="119492" y="173644"/>
                    </a:lnTo>
                    <a:lnTo>
                      <a:pt x="35144" y="173644"/>
                    </a:lnTo>
                    <a:close/>
                  </a:path>
                </a:pathLst>
              </a:custGeom>
              <a:grpFill/>
              <a:ln w="6390" cap="flat">
                <a:noFill/>
                <a:prstDash val="solid"/>
                <a:miter/>
              </a:ln>
            </p:spPr>
            <p:txBody>
              <a:bodyPr rtlCol="0" anchor="ctr"/>
              <a:lstStyle/>
              <a:p>
                <a:endParaRPr lang="de-AT" noProof="0" dirty="0"/>
              </a:p>
            </p:txBody>
          </p:sp>
        </p:grpSp>
        <p:sp>
          <p:nvSpPr>
            <p:cNvPr id="156" name="Freeform 16">
              <a:extLst>
                <a:ext uri="{FF2B5EF4-FFF2-40B4-BE49-F238E27FC236}">
                  <a16:creationId xmlns:a16="http://schemas.microsoft.com/office/drawing/2014/main" id="{9D0A61DD-83FC-FE28-E118-61C2722206FB}"/>
                </a:ext>
              </a:extLst>
            </p:cNvPr>
            <p:cNvSpPr>
              <a:spLocks noEditPoints="1"/>
            </p:cNvSpPr>
            <p:nvPr/>
          </p:nvSpPr>
          <p:spPr bwMode="auto">
            <a:xfrm>
              <a:off x="6015966" y="-193878"/>
              <a:ext cx="671039" cy="670413"/>
            </a:xfrm>
            <a:custGeom>
              <a:avLst/>
              <a:gdLst>
                <a:gd name="T0" fmla="*/ 311 w 658"/>
                <a:gd name="T1" fmla="*/ 657 h 658"/>
                <a:gd name="T2" fmla="*/ 262 w 658"/>
                <a:gd name="T3" fmla="*/ 652 h 658"/>
                <a:gd name="T4" fmla="*/ 201 w 658"/>
                <a:gd name="T5" fmla="*/ 631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2 h 658"/>
                <a:gd name="T22" fmla="*/ 96 w 658"/>
                <a:gd name="T23" fmla="*/ 96 h 658"/>
                <a:gd name="T24" fmla="*/ 172 w 658"/>
                <a:gd name="T25" fmla="*/ 40 h 658"/>
                <a:gd name="T26" fmla="*/ 247 w 658"/>
                <a:gd name="T27" fmla="*/ 10 h 658"/>
                <a:gd name="T28" fmla="*/ 295 w 658"/>
                <a:gd name="T29" fmla="*/ 1 h 658"/>
                <a:gd name="T30" fmla="*/ 329 w 658"/>
                <a:gd name="T31" fmla="*/ 0 h 658"/>
                <a:gd name="T32" fmla="*/ 379 w 658"/>
                <a:gd name="T33" fmla="*/ 4 h 658"/>
                <a:gd name="T34" fmla="*/ 426 w 658"/>
                <a:gd name="T35" fmla="*/ 14 h 658"/>
                <a:gd name="T36" fmla="*/ 513 w 658"/>
                <a:gd name="T37" fmla="*/ 56 h 658"/>
                <a:gd name="T38" fmla="*/ 583 w 658"/>
                <a:gd name="T39" fmla="*/ 119 h 658"/>
                <a:gd name="T40" fmla="*/ 631 w 658"/>
                <a:gd name="T41" fmla="*/ 201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6 w 658"/>
                <a:gd name="T67" fmla="*/ 87 h 658"/>
                <a:gd name="T68" fmla="*/ 104 w 658"/>
                <a:gd name="T69" fmla="*/ 144 h 658"/>
                <a:gd name="T70" fmla="*/ 60 w 658"/>
                <a:gd name="T71" fmla="*/ 216 h 658"/>
                <a:gd name="T72" fmla="*/ 39 w 658"/>
                <a:gd name="T73" fmla="*/ 299 h 658"/>
                <a:gd name="T74" fmla="*/ 39 w 658"/>
                <a:gd name="T75" fmla="*/ 359 h 658"/>
                <a:gd name="T76" fmla="*/ 60 w 658"/>
                <a:gd name="T77" fmla="*/ 442 h 658"/>
                <a:gd name="T78" fmla="*/ 104 w 658"/>
                <a:gd name="T79" fmla="*/ 514 h 658"/>
                <a:gd name="T80" fmla="*/ 166 w 658"/>
                <a:gd name="T81" fmla="*/ 571 h 658"/>
                <a:gd name="T82" fmla="*/ 242 w 658"/>
                <a:gd name="T83" fmla="*/ 607 h 658"/>
                <a:gd name="T84" fmla="*/ 329 w 658"/>
                <a:gd name="T85" fmla="*/ 621 h 658"/>
                <a:gd name="T86" fmla="*/ 387 w 658"/>
                <a:gd name="T87" fmla="*/ 614 h 658"/>
                <a:gd name="T88" fmla="*/ 467 w 658"/>
                <a:gd name="T89" fmla="*/ 584 h 658"/>
                <a:gd name="T90" fmla="*/ 535 w 658"/>
                <a:gd name="T91" fmla="*/ 535 h 658"/>
                <a:gd name="T92" fmla="*/ 584 w 658"/>
                <a:gd name="T93" fmla="*/ 467 h 658"/>
                <a:gd name="T94" fmla="*/ 614 w 658"/>
                <a:gd name="T95" fmla="*/ 388 h 658"/>
                <a:gd name="T96" fmla="*/ 621 w 658"/>
                <a:gd name="T97" fmla="*/ 329 h 658"/>
                <a:gd name="T98" fmla="*/ 607 w 658"/>
                <a:gd name="T99" fmla="*/ 242 h 658"/>
                <a:gd name="T100" fmla="*/ 570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6"/>
                  </a:lnTo>
                  <a:lnTo>
                    <a:pt x="279" y="654"/>
                  </a:lnTo>
                  <a:lnTo>
                    <a:pt x="262" y="652"/>
                  </a:lnTo>
                  <a:lnTo>
                    <a:pt x="247" y="648"/>
                  </a:lnTo>
                  <a:lnTo>
                    <a:pt x="231" y="644"/>
                  </a:lnTo>
                  <a:lnTo>
                    <a:pt x="201" y="631"/>
                  </a:lnTo>
                  <a:lnTo>
                    <a:pt x="172" y="618"/>
                  </a:lnTo>
                  <a:lnTo>
                    <a:pt x="145" y="602"/>
                  </a:lnTo>
                  <a:lnTo>
                    <a:pt x="119" y="583"/>
                  </a:lnTo>
                  <a:lnTo>
                    <a:pt x="96" y="562"/>
                  </a:lnTo>
                  <a:lnTo>
                    <a:pt x="75" y="537"/>
                  </a:lnTo>
                  <a:lnTo>
                    <a:pt x="56" y="513"/>
                  </a:lnTo>
                  <a:lnTo>
                    <a:pt x="40" y="485"/>
                  </a:lnTo>
                  <a:lnTo>
                    <a:pt x="25" y="457"/>
                  </a:lnTo>
                  <a:lnTo>
                    <a:pt x="14" y="427"/>
                  </a:lnTo>
                  <a:lnTo>
                    <a:pt x="10" y="411"/>
                  </a:lnTo>
                  <a:lnTo>
                    <a:pt x="6" y="395"/>
                  </a:lnTo>
                  <a:lnTo>
                    <a:pt x="4" y="379"/>
                  </a:lnTo>
                  <a:lnTo>
                    <a:pt x="1" y="363"/>
                  </a:lnTo>
                  <a:lnTo>
                    <a:pt x="0" y="345"/>
                  </a:lnTo>
                  <a:lnTo>
                    <a:pt x="0" y="329"/>
                  </a:lnTo>
                  <a:lnTo>
                    <a:pt x="0" y="329"/>
                  </a:lnTo>
                  <a:lnTo>
                    <a:pt x="0" y="312"/>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2" y="40"/>
                  </a:lnTo>
                  <a:lnTo>
                    <a:pt x="201" y="25"/>
                  </a:lnTo>
                  <a:lnTo>
                    <a:pt x="231" y="14"/>
                  </a:lnTo>
                  <a:lnTo>
                    <a:pt x="247" y="10"/>
                  </a:lnTo>
                  <a:lnTo>
                    <a:pt x="262" y="6"/>
                  </a:lnTo>
                  <a:lnTo>
                    <a:pt x="279" y="4"/>
                  </a:lnTo>
                  <a:lnTo>
                    <a:pt x="295" y="1"/>
                  </a:lnTo>
                  <a:lnTo>
                    <a:pt x="311" y="0"/>
                  </a:lnTo>
                  <a:lnTo>
                    <a:pt x="329" y="0"/>
                  </a:lnTo>
                  <a:lnTo>
                    <a:pt x="329" y="0"/>
                  </a:lnTo>
                  <a:lnTo>
                    <a:pt x="345" y="0"/>
                  </a:lnTo>
                  <a:lnTo>
                    <a:pt x="363" y="1"/>
                  </a:lnTo>
                  <a:lnTo>
                    <a:pt x="379" y="4"/>
                  </a:lnTo>
                  <a:lnTo>
                    <a:pt x="395" y="6"/>
                  </a:lnTo>
                  <a:lnTo>
                    <a:pt x="411" y="10"/>
                  </a:lnTo>
                  <a:lnTo>
                    <a:pt x="426" y="14"/>
                  </a:lnTo>
                  <a:lnTo>
                    <a:pt x="457" y="25"/>
                  </a:lnTo>
                  <a:lnTo>
                    <a:pt x="485" y="40"/>
                  </a:lnTo>
                  <a:lnTo>
                    <a:pt x="513" y="56"/>
                  </a:lnTo>
                  <a:lnTo>
                    <a:pt x="537" y="75"/>
                  </a:lnTo>
                  <a:lnTo>
                    <a:pt x="561" y="96"/>
                  </a:lnTo>
                  <a:lnTo>
                    <a:pt x="583" y="119"/>
                  </a:lnTo>
                  <a:lnTo>
                    <a:pt x="602" y="145"/>
                  </a:lnTo>
                  <a:lnTo>
                    <a:pt x="618" y="172"/>
                  </a:lnTo>
                  <a:lnTo>
                    <a:pt x="631" y="201"/>
                  </a:lnTo>
                  <a:lnTo>
                    <a:pt x="643" y="231"/>
                  </a:lnTo>
                  <a:lnTo>
                    <a:pt x="647" y="247"/>
                  </a:lnTo>
                  <a:lnTo>
                    <a:pt x="651" y="263"/>
                  </a:lnTo>
                  <a:lnTo>
                    <a:pt x="654" y="279"/>
                  </a:lnTo>
                  <a:lnTo>
                    <a:pt x="656" y="295"/>
                  </a:lnTo>
                  <a:lnTo>
                    <a:pt x="657" y="312"/>
                  </a:lnTo>
                  <a:lnTo>
                    <a:pt x="658" y="329"/>
                  </a:lnTo>
                  <a:lnTo>
                    <a:pt x="658" y="329"/>
                  </a:lnTo>
                  <a:lnTo>
                    <a:pt x="657" y="345"/>
                  </a:lnTo>
                  <a:lnTo>
                    <a:pt x="656" y="363"/>
                  </a:lnTo>
                  <a:lnTo>
                    <a:pt x="654" y="379"/>
                  </a:lnTo>
                  <a:lnTo>
                    <a:pt x="651" y="395"/>
                  </a:lnTo>
                  <a:lnTo>
                    <a:pt x="647" y="411"/>
                  </a:lnTo>
                  <a:lnTo>
                    <a:pt x="643" y="427"/>
                  </a:lnTo>
                  <a:lnTo>
                    <a:pt x="631" y="457"/>
                  </a:lnTo>
                  <a:lnTo>
                    <a:pt x="618" y="485"/>
                  </a:lnTo>
                  <a:lnTo>
                    <a:pt x="602" y="513"/>
                  </a:lnTo>
                  <a:lnTo>
                    <a:pt x="583" y="537"/>
                  </a:lnTo>
                  <a:lnTo>
                    <a:pt x="561"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7"/>
                  </a:moveTo>
                  <a:lnTo>
                    <a:pt x="329" y="37"/>
                  </a:lnTo>
                  <a:lnTo>
                    <a:pt x="299" y="39"/>
                  </a:lnTo>
                  <a:lnTo>
                    <a:pt x="270" y="44"/>
                  </a:lnTo>
                  <a:lnTo>
                    <a:pt x="242" y="51"/>
                  </a:lnTo>
                  <a:lnTo>
                    <a:pt x="215" y="60"/>
                  </a:lnTo>
                  <a:lnTo>
                    <a:pt x="191" y="72"/>
                  </a:lnTo>
                  <a:lnTo>
                    <a:pt x="166" y="87"/>
                  </a:lnTo>
                  <a:lnTo>
                    <a:pt x="143" y="105"/>
                  </a:lnTo>
                  <a:lnTo>
                    <a:pt x="123" y="123"/>
                  </a:lnTo>
                  <a:lnTo>
                    <a:pt x="104" y="144"/>
                  </a:lnTo>
                  <a:lnTo>
                    <a:pt x="87" y="166"/>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2"/>
                  </a:lnTo>
                  <a:lnTo>
                    <a:pt x="104" y="514"/>
                  </a:lnTo>
                  <a:lnTo>
                    <a:pt x="123" y="535"/>
                  </a:lnTo>
                  <a:lnTo>
                    <a:pt x="143" y="553"/>
                  </a:lnTo>
                  <a:lnTo>
                    <a:pt x="166" y="571"/>
                  </a:lnTo>
                  <a:lnTo>
                    <a:pt x="191"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7" y="584"/>
                  </a:lnTo>
                  <a:lnTo>
                    <a:pt x="492" y="571"/>
                  </a:lnTo>
                  <a:lnTo>
                    <a:pt x="514" y="553"/>
                  </a:lnTo>
                  <a:lnTo>
                    <a:pt x="535" y="535"/>
                  </a:lnTo>
                  <a:lnTo>
                    <a:pt x="553" y="514"/>
                  </a:lnTo>
                  <a:lnTo>
                    <a:pt x="570" y="492"/>
                  </a:lnTo>
                  <a:lnTo>
                    <a:pt x="584" y="467"/>
                  </a:lnTo>
                  <a:lnTo>
                    <a:pt x="596" y="442"/>
                  </a:lnTo>
                  <a:lnTo>
                    <a:pt x="607" y="415"/>
                  </a:lnTo>
                  <a:lnTo>
                    <a:pt x="614" y="388"/>
                  </a:lnTo>
                  <a:lnTo>
                    <a:pt x="618" y="359"/>
                  </a:lnTo>
                  <a:lnTo>
                    <a:pt x="621" y="329"/>
                  </a:lnTo>
                  <a:lnTo>
                    <a:pt x="621" y="329"/>
                  </a:lnTo>
                  <a:lnTo>
                    <a:pt x="618" y="299"/>
                  </a:lnTo>
                  <a:lnTo>
                    <a:pt x="614" y="270"/>
                  </a:lnTo>
                  <a:lnTo>
                    <a:pt x="607" y="242"/>
                  </a:lnTo>
                  <a:lnTo>
                    <a:pt x="596" y="216"/>
                  </a:lnTo>
                  <a:lnTo>
                    <a:pt x="584" y="191"/>
                  </a:lnTo>
                  <a:lnTo>
                    <a:pt x="570" y="166"/>
                  </a:lnTo>
                  <a:lnTo>
                    <a:pt x="553" y="144"/>
                  </a:lnTo>
                  <a:lnTo>
                    <a:pt x="535" y="123"/>
                  </a:lnTo>
                  <a:lnTo>
                    <a:pt x="514" y="105"/>
                  </a:lnTo>
                  <a:lnTo>
                    <a:pt x="492" y="87"/>
                  </a:lnTo>
                  <a:lnTo>
                    <a:pt x="467" y="72"/>
                  </a:lnTo>
                  <a:lnTo>
                    <a:pt x="442" y="60"/>
                  </a:lnTo>
                  <a:lnTo>
                    <a:pt x="415" y="51"/>
                  </a:lnTo>
                  <a:lnTo>
                    <a:pt x="387" y="44"/>
                  </a:lnTo>
                  <a:lnTo>
                    <a:pt x="359" y="39"/>
                  </a:lnTo>
                  <a:lnTo>
                    <a:pt x="329" y="37"/>
                  </a:lnTo>
                  <a:lnTo>
                    <a:pt x="329" y="3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4815180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think-cell data - do not delete" hidden="1">
            <a:extLst>
              <a:ext uri="{FF2B5EF4-FFF2-40B4-BE49-F238E27FC236}">
                <a16:creationId xmlns:a16="http://schemas.microsoft.com/office/drawing/2014/main" id="{46423C75-64DA-1B3C-9E55-C051AA816F2D}"/>
              </a:ext>
            </a:extLst>
          </p:cNvPr>
          <p:cNvGraphicFramePr>
            <a:graphicFrameLocks noChangeAspect="1"/>
          </p:cNvGraphicFramePr>
          <p:nvPr>
            <p:custDataLst>
              <p:tags r:id="rId1"/>
            </p:custDataLst>
            <p:extLst>
              <p:ext uri="{D42A27DB-BD31-4B8C-83A1-F6EECF244321}">
                <p14:modId xmlns:p14="http://schemas.microsoft.com/office/powerpoint/2010/main" val="188476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54" name="think-cell data - do not delete" hidden="1">
                        <a:extLst>
                          <a:ext uri="{FF2B5EF4-FFF2-40B4-BE49-F238E27FC236}">
                            <a16:creationId xmlns:a16="http://schemas.microsoft.com/office/drawing/2014/main" id="{46423C75-64DA-1B3C-9E55-C051AA816F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5CBB231-A8EA-4EEF-3682-A7073BFF76FB}"/>
              </a:ext>
            </a:extLst>
          </p:cNvPr>
          <p:cNvSpPr>
            <a:spLocks noGrp="1"/>
          </p:cNvSpPr>
          <p:nvPr>
            <p:ph type="body" sz="quarter" idx="13"/>
          </p:nvPr>
        </p:nvSpPr>
        <p:spPr/>
        <p:txBody>
          <a:bodyPr/>
          <a:lstStyle/>
          <a:p>
            <a:r>
              <a:rPr lang="de-AT" noProof="0">
                <a:solidFill>
                  <a:schemeClr val="tx2">
                    <a:lumMod val="50000"/>
                  </a:schemeClr>
                </a:solidFill>
              </a:rPr>
              <a:t>Verfügbarkeit und </a:t>
            </a:r>
            <a:r>
              <a:rPr lang="de-AT" noProof="0" err="1">
                <a:solidFill>
                  <a:schemeClr val="tx2">
                    <a:lumMod val="50000"/>
                  </a:schemeClr>
                </a:solidFill>
              </a:rPr>
              <a:t>Safety</a:t>
            </a:r>
            <a:r>
              <a:rPr lang="de-AT" noProof="0">
                <a:solidFill>
                  <a:schemeClr val="tx2">
                    <a:lumMod val="50000"/>
                  </a:schemeClr>
                </a:solidFill>
              </a:rPr>
              <a:t> im Fokus</a:t>
            </a:r>
          </a:p>
        </p:txBody>
      </p:sp>
      <p:sp>
        <p:nvSpPr>
          <p:cNvPr id="4" name="Title 3">
            <a:extLst>
              <a:ext uri="{FF2B5EF4-FFF2-40B4-BE49-F238E27FC236}">
                <a16:creationId xmlns:a16="http://schemas.microsoft.com/office/drawing/2014/main" id="{A0089A37-455D-9697-9ED6-B43E6E95BA6E}"/>
              </a:ext>
            </a:extLst>
          </p:cNvPr>
          <p:cNvSpPr>
            <a:spLocks noGrp="1"/>
          </p:cNvSpPr>
          <p:nvPr>
            <p:ph type="title"/>
          </p:nvPr>
        </p:nvSpPr>
        <p:spPr/>
        <p:txBody>
          <a:bodyPr vert="horz"/>
          <a:lstStyle/>
          <a:p>
            <a:r>
              <a:rPr lang="de-AT" noProof="0"/>
              <a:t>Was ist der Unterschied zwischen OT- und IT-Security?</a:t>
            </a:r>
          </a:p>
        </p:txBody>
      </p:sp>
      <p:sp>
        <p:nvSpPr>
          <p:cNvPr id="6" name="Rectangle 5">
            <a:extLst>
              <a:ext uri="{FF2B5EF4-FFF2-40B4-BE49-F238E27FC236}">
                <a16:creationId xmlns:a16="http://schemas.microsoft.com/office/drawing/2014/main" id="{E7F85D34-D3BA-6D3F-7D6E-1A296F74AF9B}"/>
              </a:ext>
            </a:extLst>
          </p:cNvPr>
          <p:cNvSpPr/>
          <p:nvPr/>
        </p:nvSpPr>
        <p:spPr>
          <a:xfrm>
            <a:off x="7968572" y="2386"/>
            <a:ext cx="4237299" cy="68556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itle 1">
            <a:extLst>
              <a:ext uri="{FF2B5EF4-FFF2-40B4-BE49-F238E27FC236}">
                <a16:creationId xmlns:a16="http://schemas.microsoft.com/office/drawing/2014/main" id="{6A6592D9-1E48-6F43-2340-414F4A10B585}"/>
              </a:ext>
            </a:extLst>
          </p:cNvPr>
          <p:cNvSpPr txBox="1">
            <a:spLocks/>
          </p:cNvSpPr>
          <p:nvPr/>
        </p:nvSpPr>
        <p:spPr>
          <a:xfrm>
            <a:off x="8227418" y="1592262"/>
            <a:ext cx="3964582" cy="951837"/>
          </a:xfrm>
          <a:prstGeom prst="rect">
            <a:avLst/>
          </a:prstGeom>
        </p:spPr>
        <p:txBody>
          <a:bodyPr lIns="0" tIns="0" rIns="0" bIns="0"/>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1219170" eaLnBrk="1" hangingPunct="1">
              <a:lnSpc>
                <a:spcPct val="120000"/>
              </a:lnSpc>
              <a:spcBef>
                <a:spcPct val="0"/>
              </a:spcBef>
              <a:spcAft>
                <a:spcPts val="1000"/>
              </a:spcAft>
              <a:defRPr sz="1600" b="1" kern="12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defTabSz="1219170"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2pPr>
            <a:lvl3pPr marL="279400" indent="-127000" defTabSz="1219170"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3pPr>
            <a:lvl4pPr marL="431800" indent="-127000" defTabSz="1219170"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4pPr>
            <a:lvl5pPr marL="584200" indent="-127000" defTabSz="1064657"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5pPr>
            <a:lvl6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6pPr>
            <a:lvl7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8pPr>
            <a:lvl9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9pPr>
          </a:lstStyle>
          <a:p>
            <a:r>
              <a:rPr lang="de-AT" sz="3200" noProof="0"/>
              <a:t>Gerätetypen</a:t>
            </a:r>
          </a:p>
        </p:txBody>
      </p:sp>
      <p:sp>
        <p:nvSpPr>
          <p:cNvPr id="30" name="Text Placeholder 3">
            <a:extLst>
              <a:ext uri="{FF2B5EF4-FFF2-40B4-BE49-F238E27FC236}">
                <a16:creationId xmlns:a16="http://schemas.microsoft.com/office/drawing/2014/main" id="{E37C5DC7-A80F-BFE5-F3BA-BC9F3FBD1996}"/>
              </a:ext>
            </a:extLst>
          </p:cNvPr>
          <p:cNvSpPr txBox="1">
            <a:spLocks/>
          </p:cNvSpPr>
          <p:nvPr/>
        </p:nvSpPr>
        <p:spPr>
          <a:xfrm>
            <a:off x="10222158" y="2901343"/>
            <a:ext cx="1487242" cy="2502507"/>
          </a:xfrm>
          <a:prstGeom prst="rect">
            <a:avLst/>
          </a:prstGeom>
        </p:spPr>
        <p:txBody>
          <a:bodyPr lIns="0" tIns="0" rIns="0" bIns="0"/>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1219170" eaLnBrk="1" hangingPunct="1">
              <a:lnSpc>
                <a:spcPct val="120000"/>
              </a:lnSpc>
              <a:spcBef>
                <a:spcPct val="0"/>
              </a:spcBef>
              <a:spcAft>
                <a:spcPts val="1000"/>
              </a:spcAft>
              <a:defRPr sz="1200" kern="12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defTabSz="1219170"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2pPr>
            <a:lvl3pPr marL="279400" indent="-127000" defTabSz="1219170"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3pPr>
            <a:lvl4pPr marL="431800" indent="-127000" defTabSz="1219170"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4pPr>
            <a:lvl5pPr marL="584200" indent="-127000" defTabSz="1064657" eaLnBrk="1" hangingPunct="1">
              <a:spcAft>
                <a:spcPts val="1333"/>
              </a:spcAft>
              <a:buSzPct val="100000"/>
              <a:buFont typeface="Arial" panose="020B0604020202020204" pitchFamily="34" charset="0"/>
              <a:buChar char="−"/>
              <a:defRPr sz="1200" kern="1200">
                <a:solidFill>
                  <a:schemeClr val="tx1"/>
                </a:solidFill>
                <a:latin typeface="+mn-lt"/>
                <a:ea typeface="+mn-ea"/>
                <a:cs typeface="+mn-cs"/>
              </a:defRPr>
            </a:lvl5pPr>
            <a:lvl6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6pPr>
            <a:lvl7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8pPr>
            <a:lvl9pPr marL="710382" indent="-235194" defTabSz="1219170" eaLnBrk="1" hangingPunct="1">
              <a:spcAft>
                <a:spcPts val="1333"/>
              </a:spcAft>
              <a:buFont typeface="Verdana" panose="020B060403050404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de-AT" noProof="0"/>
              <a:t>Server, Netzwerk Switches, Router, Cloud Infrastruktur, Data- Centers, mobile Geräte</a:t>
            </a:r>
          </a:p>
          <a:p>
            <a:pPr marL="171450" indent="-171450">
              <a:buFont typeface="Arial" panose="020B0604020202020204" pitchFamily="34" charset="0"/>
              <a:buChar char="•"/>
            </a:pPr>
            <a:r>
              <a:rPr lang="de-AT" noProof="0"/>
              <a:t>3-5 Jahre Lebensspanne (häufiger Hardware / Software Austausch)</a:t>
            </a:r>
          </a:p>
          <a:p>
            <a:pPr marL="171450" indent="-171450">
              <a:buFont typeface="Arial" panose="020B0604020202020204" pitchFamily="34" charset="0"/>
              <a:buChar char="•"/>
            </a:pPr>
            <a:r>
              <a:rPr lang="de-AT" noProof="0"/>
              <a:t>Mit dem Internet verbunden</a:t>
            </a:r>
          </a:p>
          <a:p>
            <a:pPr marL="171450" indent="-171450">
              <a:buFont typeface="Arial" panose="020B0604020202020204" pitchFamily="34" charset="0"/>
              <a:buChar char="•"/>
            </a:pPr>
            <a:endParaRPr lang="de-AT" noProof="0"/>
          </a:p>
        </p:txBody>
      </p:sp>
      <p:sp>
        <p:nvSpPr>
          <p:cNvPr id="32" name="Text Placeholder 3">
            <a:extLst>
              <a:ext uri="{FF2B5EF4-FFF2-40B4-BE49-F238E27FC236}">
                <a16:creationId xmlns:a16="http://schemas.microsoft.com/office/drawing/2014/main" id="{8ED91D84-1FA9-AE27-D7CF-2E208A82B8D8}"/>
              </a:ext>
            </a:extLst>
          </p:cNvPr>
          <p:cNvSpPr txBox="1">
            <a:spLocks/>
          </p:cNvSpPr>
          <p:nvPr/>
        </p:nvSpPr>
        <p:spPr>
          <a:xfrm>
            <a:off x="8227417" y="2901343"/>
            <a:ext cx="1625597" cy="250250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lnSpc>
                <a:spcPct val="120000"/>
              </a:lnSpc>
              <a:spcBef>
                <a:spcPct val="0"/>
              </a:spcBef>
              <a:spcAft>
                <a:spcPts val="1000"/>
              </a:spcAft>
              <a:buSzTx/>
              <a:buFont typeface="Arial" panose="020B0604020202020204" pitchFamily="34" charset="0"/>
              <a:buChar char="•"/>
              <a:defRPr/>
            </a:pPr>
            <a:r>
              <a:rPr lang="de-AT" noProof="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ndustrielle Steuerungs-systeme(ICS), SCADA, PLCs, DCS, Sensoren, HMIs, Roboter, industrielle PCs</a:t>
            </a:r>
          </a:p>
          <a:p>
            <a:pPr marL="171450" indent="-171450">
              <a:lnSpc>
                <a:spcPct val="120000"/>
              </a:lnSpc>
              <a:spcBef>
                <a:spcPct val="0"/>
              </a:spcBef>
              <a:spcAft>
                <a:spcPts val="1000"/>
              </a:spcAft>
              <a:buSzTx/>
              <a:buFont typeface="Arial" panose="020B0604020202020204" pitchFamily="34" charset="0"/>
              <a:buChar char="•"/>
              <a:defRPr/>
            </a:pPr>
            <a:r>
              <a:rPr lang="de-AT" noProof="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10-30+ Jahre Lebensspanne (teilweise Verwendung von Legacy Systemen) </a:t>
            </a:r>
          </a:p>
          <a:p>
            <a:pPr marL="171450" indent="-171450">
              <a:lnSpc>
                <a:spcPct val="120000"/>
              </a:lnSpc>
              <a:spcBef>
                <a:spcPct val="0"/>
              </a:spcBef>
              <a:spcAft>
                <a:spcPts val="1000"/>
              </a:spcAft>
              <a:buSzTx/>
              <a:buFont typeface="Arial" panose="020B0604020202020204" pitchFamily="34" charset="0"/>
              <a:buChar char="•"/>
              <a:defRPr/>
            </a:pPr>
            <a:r>
              <a:rPr lang="de-AT" noProof="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Oft Air-</a:t>
            </a:r>
            <a:r>
              <a:rPr lang="de-AT" noProof="0" err="1">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gapped</a:t>
            </a:r>
            <a:r>
              <a:rPr lang="de-AT" noProof="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oder vom Netzwerk isoliert</a:t>
            </a:r>
          </a:p>
        </p:txBody>
      </p:sp>
      <p:sp>
        <p:nvSpPr>
          <p:cNvPr id="34" name="Text Placeholder 3">
            <a:extLst>
              <a:ext uri="{FF2B5EF4-FFF2-40B4-BE49-F238E27FC236}">
                <a16:creationId xmlns:a16="http://schemas.microsoft.com/office/drawing/2014/main" id="{3206E093-6068-860E-5062-50915D67ACE3}"/>
              </a:ext>
            </a:extLst>
          </p:cNvPr>
          <p:cNvSpPr txBox="1">
            <a:spLocks/>
          </p:cNvSpPr>
          <p:nvPr/>
        </p:nvSpPr>
        <p:spPr>
          <a:xfrm>
            <a:off x="8227418" y="2346690"/>
            <a:ext cx="1625600" cy="517768"/>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20000"/>
              </a:lnSpc>
              <a:spcBef>
                <a:spcPct val="0"/>
              </a:spcBef>
              <a:spcAft>
                <a:spcPts val="1000"/>
              </a:spcAft>
              <a:buSzTx/>
              <a:defRPr/>
            </a:pPr>
            <a:r>
              <a:rPr lang="de-AT" sz="1600" b="1" noProof="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rPr>
              <a:t>OT-Geräte</a:t>
            </a:r>
          </a:p>
          <a:p>
            <a:endParaRPr lang="de-AT" b="1"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Text Placeholder 3">
            <a:extLst>
              <a:ext uri="{FF2B5EF4-FFF2-40B4-BE49-F238E27FC236}">
                <a16:creationId xmlns:a16="http://schemas.microsoft.com/office/drawing/2014/main" id="{8F309CE1-637C-8AA1-0019-15408B5023CD}"/>
              </a:ext>
            </a:extLst>
          </p:cNvPr>
          <p:cNvSpPr txBox="1">
            <a:spLocks/>
          </p:cNvSpPr>
          <p:nvPr/>
        </p:nvSpPr>
        <p:spPr>
          <a:xfrm>
            <a:off x="10222158" y="2346690"/>
            <a:ext cx="1625600" cy="517768"/>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20000"/>
              </a:lnSpc>
              <a:spcBef>
                <a:spcPct val="0"/>
              </a:spcBef>
              <a:spcAft>
                <a:spcPts val="1000"/>
              </a:spcAft>
              <a:buSzTx/>
              <a:defRPr/>
            </a:pPr>
            <a:r>
              <a:rPr lang="de-AT" sz="1600" b="1" noProof="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rPr>
              <a:t>IT-Geräte</a:t>
            </a:r>
          </a:p>
          <a:p>
            <a:endParaRPr lang="de-AT" b="1" noProof="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0" name="Straight Connector 39">
            <a:extLst>
              <a:ext uri="{FF2B5EF4-FFF2-40B4-BE49-F238E27FC236}">
                <a16:creationId xmlns:a16="http://schemas.microsoft.com/office/drawing/2014/main" id="{E166B6E2-1A50-6913-6CA0-F00A0BCE81E6}"/>
              </a:ext>
            </a:extLst>
          </p:cNvPr>
          <p:cNvCxnSpPr>
            <a:cxnSpLocks/>
          </p:cNvCxnSpPr>
          <p:nvPr/>
        </p:nvCxnSpPr>
        <p:spPr>
          <a:xfrm>
            <a:off x="9968409" y="2901343"/>
            <a:ext cx="0" cy="3167982"/>
          </a:xfrm>
          <a:prstGeom prst="line">
            <a:avLst/>
          </a:prstGeom>
          <a:noFill/>
          <a:ln w="6350" cap="flat">
            <a:solidFill>
              <a:schemeClr val="accent6"/>
            </a:solidFill>
            <a:prstDash val="dash"/>
            <a:round/>
          </a:ln>
          <a:effectLst/>
          <a:sp3d/>
        </p:spPr>
        <p:style>
          <a:lnRef idx="0">
            <a:scrgbClr r="0" g="0" b="0"/>
          </a:lnRef>
          <a:fillRef idx="0">
            <a:scrgbClr r="0" g="0" b="0"/>
          </a:fillRef>
          <a:effectRef idx="0">
            <a:scrgbClr r="0" g="0" b="0"/>
          </a:effectRef>
          <a:fontRef idx="none"/>
        </p:style>
      </p:cxnSp>
      <p:sp>
        <p:nvSpPr>
          <p:cNvPr id="183" name="Oval 182">
            <a:extLst>
              <a:ext uri="{FF2B5EF4-FFF2-40B4-BE49-F238E27FC236}">
                <a16:creationId xmlns:a16="http://schemas.microsoft.com/office/drawing/2014/main" id="{7F7683D3-B522-A64C-9F93-1B9B834B7DB7}"/>
              </a:ext>
            </a:extLst>
          </p:cNvPr>
          <p:cNvSpPr/>
          <p:nvPr/>
        </p:nvSpPr>
        <p:spPr>
          <a:xfrm rot="19880991">
            <a:off x="2517729" y="4527284"/>
            <a:ext cx="782149"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259" name="Rectangle 258">
            <a:extLst>
              <a:ext uri="{FF2B5EF4-FFF2-40B4-BE49-F238E27FC236}">
                <a16:creationId xmlns:a16="http://schemas.microsoft.com/office/drawing/2014/main" id="{5BC7D094-30AD-957B-5263-3B200CF72F8D}"/>
              </a:ext>
            </a:extLst>
          </p:cNvPr>
          <p:cNvSpPr>
            <a:spLocks/>
          </p:cNvSpPr>
          <p:nvPr/>
        </p:nvSpPr>
        <p:spPr>
          <a:xfrm>
            <a:off x="479426" y="5269243"/>
            <a:ext cx="6553200" cy="671652"/>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ea typeface="+mn-ea"/>
              <a:cs typeface="+mn-cs"/>
            </a:endParaRPr>
          </a:p>
        </p:txBody>
      </p:sp>
      <p:sp>
        <p:nvSpPr>
          <p:cNvPr id="260" name="Title 1">
            <a:extLst>
              <a:ext uri="{FF2B5EF4-FFF2-40B4-BE49-F238E27FC236}">
                <a16:creationId xmlns:a16="http://schemas.microsoft.com/office/drawing/2014/main" id="{7CF538A9-C198-ED38-0CF3-ED0372F9541C}"/>
              </a:ext>
            </a:extLst>
          </p:cNvPr>
          <p:cNvSpPr txBox="1">
            <a:spLocks/>
          </p:cNvSpPr>
          <p:nvPr/>
        </p:nvSpPr>
        <p:spPr>
          <a:xfrm>
            <a:off x="644627" y="5127455"/>
            <a:ext cx="2039973" cy="250358"/>
          </a:xfrm>
          <a:prstGeom prst="rect">
            <a:avLst/>
          </a:prstGeom>
          <a:solidFill>
            <a:schemeClr val="bg1"/>
          </a:solidFill>
        </p:spPr>
        <p:txBody>
          <a:bodyPr vert="horz" lIns="0" tIns="45720" rIns="91440" bIns="0" rtlCol="0" anchor="t" anchorCtr="0">
            <a:noAutofit/>
          </a:bodyPr>
          <a:lstStyle>
            <a:lvl1pPr algn="l" defTabSz="685800" rtl="0" eaLnBrk="1" latinLnBrk="0" hangingPunct="1">
              <a:lnSpc>
                <a:spcPct val="85000"/>
              </a:lnSpc>
              <a:spcBef>
                <a:spcPct val="0"/>
              </a:spcBef>
              <a:buNone/>
              <a:defRPr sz="3600" b="0" i="0" kern="1200" cap="none" spc="-75" baseline="0">
                <a:solidFill>
                  <a:schemeClr val="tx1"/>
                </a:solidFill>
                <a:latin typeface="+mj-lt"/>
                <a:ea typeface="Bebas Neue" charset="0"/>
                <a:cs typeface="Chronicle Display Black"/>
              </a:defRPr>
            </a:lvl1pPr>
          </a:lstStyle>
          <a:p>
            <a:pPr marL="0" marR="0" lvl="0" indent="0" algn="ctr" defTabSz="685800" eaLnBrk="1" fontAlgn="auto" latinLnBrk="0" hangingPunct="1">
              <a:lnSpc>
                <a:spcPct val="85000"/>
              </a:lnSpc>
              <a:spcBef>
                <a:spcPct val="0"/>
              </a:spcBef>
              <a:spcAft>
                <a:spcPts val="0"/>
              </a:spcAft>
              <a:buClrTx/>
              <a:buSzTx/>
              <a:buFontTx/>
              <a:buNone/>
              <a:tabLst/>
              <a:defRPr/>
            </a:pPr>
            <a:r>
              <a:rPr kumimoji="0" lang="de-AT" sz="1400" b="0" i="0" u="none" strike="noStrike" kern="1200" cap="none" spc="200" normalizeH="0" baseline="0" noProof="0">
                <a:ln>
                  <a:noFill/>
                </a:ln>
                <a:solidFill>
                  <a:schemeClr val="bg2">
                    <a:lumMod val="10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lang="de-AT" sz="1400" spc="0" baseline="0" noProof="0">
                <a:solidFill>
                  <a:schemeClr val="bg2">
                    <a:lumMod val="100000"/>
                  </a:schemeClr>
                </a:solidFill>
                <a:latin typeface="Aptos" panose="020B0004020202020204" pitchFamily="34" charset="0"/>
                <a:ea typeface="Open Sans Light" panose="020B0306030504020204" pitchFamily="34" charset="0"/>
                <a:cs typeface="Open Sans Light" panose="020B0306030504020204" pitchFamily="34" charset="0"/>
              </a:rPr>
              <a:t>HAUPTUNTERSCHIEDE</a:t>
            </a:r>
            <a:endParaRPr kumimoji="0" lang="de-AT" sz="1400" b="0" i="0" u="none" strike="noStrike" kern="1200" cap="none" spc="0" normalizeH="0" noProof="0">
              <a:ln>
                <a:noFill/>
              </a:ln>
              <a:solidFill>
                <a:schemeClr val="bg2">
                  <a:lumMod val="100000"/>
                </a:schemeClr>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graphicFrame>
        <p:nvGraphicFramePr>
          <p:cNvPr id="270" name="Table 269">
            <a:extLst>
              <a:ext uri="{FF2B5EF4-FFF2-40B4-BE49-F238E27FC236}">
                <a16:creationId xmlns:a16="http://schemas.microsoft.com/office/drawing/2014/main" id="{A1CAAE83-8F51-DFE5-BA86-7CEB7E78DC46}"/>
              </a:ext>
            </a:extLst>
          </p:cNvPr>
          <p:cNvGraphicFramePr>
            <a:graphicFrameLocks noGrp="1"/>
          </p:cNvGraphicFramePr>
          <p:nvPr>
            <p:extLst>
              <p:ext uri="{D42A27DB-BD31-4B8C-83A1-F6EECF244321}">
                <p14:modId xmlns:p14="http://schemas.microsoft.com/office/powerpoint/2010/main" val="3189505596"/>
              </p:ext>
            </p:extLst>
          </p:nvPr>
        </p:nvGraphicFramePr>
        <p:xfrm>
          <a:off x="484159" y="5376469"/>
          <a:ext cx="6543734" cy="457200"/>
        </p:xfrm>
        <a:graphic>
          <a:graphicData uri="http://schemas.openxmlformats.org/drawingml/2006/table">
            <a:tbl>
              <a:tblPr firstRow="1" bandRow="1">
                <a:tableStyleId>{5940675A-B579-460E-94D1-54222C63F5DA}</a:tableStyleId>
              </a:tblPr>
              <a:tblGrid>
                <a:gridCol w="3271867">
                  <a:extLst>
                    <a:ext uri="{9D8B030D-6E8A-4147-A177-3AD203B41FA5}">
                      <a16:colId xmlns:a16="http://schemas.microsoft.com/office/drawing/2014/main" val="2854604747"/>
                    </a:ext>
                  </a:extLst>
                </a:gridCol>
                <a:gridCol w="3271867">
                  <a:extLst>
                    <a:ext uri="{9D8B030D-6E8A-4147-A177-3AD203B41FA5}">
                      <a16:colId xmlns:a16="http://schemas.microsoft.com/office/drawing/2014/main" val="465888844"/>
                    </a:ext>
                  </a:extLst>
                </a:gridCol>
              </a:tblGrid>
              <a:tr h="370840">
                <a:tc>
                  <a:txBody>
                    <a:bodyPr/>
                    <a:lstStyle/>
                    <a:p>
                      <a:pPr marL="0" marR="0" lvl="0" indent="0" algn="ctr" defTabSz="914400" rtl="0" eaLnBrk="0" fontAlgn="base" latinLnBrk="0" hangingPunct="0">
                        <a:lnSpc>
                          <a:spcPct val="100000"/>
                        </a:lnSpc>
                        <a:spcBef>
                          <a:spcPct val="0"/>
                        </a:spcBef>
                        <a:spcAft>
                          <a:spcPct val="0"/>
                        </a:spcAft>
                        <a:buClr>
                          <a:srgbClr val="012169"/>
                        </a:buClr>
                        <a:buSzPct val="125000"/>
                        <a:buFont typeface="Open Sans Light" panose="020B0306030504020204" pitchFamily="34" charset="0"/>
                        <a:buNone/>
                        <a:tabLst/>
                        <a:defRPr/>
                      </a:pPr>
                      <a:r>
                        <a:rPr kumimoji="0" lang="de-AT" sz="1200" b="1"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OT-Security </a:t>
                      </a:r>
                      <a:r>
                        <a:rPr kumimoji="0" lang="de-AT" sz="1200" b="0"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priorisiert</a:t>
                      </a:r>
                      <a:r>
                        <a:rPr kumimoji="0" lang="de-AT" sz="1200" b="1"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 Verfügbarkeit </a:t>
                      </a:r>
                      <a:r>
                        <a:rPr kumimoji="0" lang="de-AT" sz="1200" b="0"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für</a:t>
                      </a:r>
                    </a:p>
                    <a:p>
                      <a:pPr marL="0" marR="0" lvl="0" indent="0" algn="ctr" defTabSz="914400" rtl="0" eaLnBrk="0" fontAlgn="base" latinLnBrk="0" hangingPunct="0">
                        <a:lnSpc>
                          <a:spcPct val="100000"/>
                        </a:lnSpc>
                        <a:spcBef>
                          <a:spcPct val="0"/>
                        </a:spcBef>
                        <a:spcAft>
                          <a:spcPct val="0"/>
                        </a:spcAft>
                        <a:buClr>
                          <a:srgbClr val="012169"/>
                        </a:buClr>
                        <a:buSzPct val="125000"/>
                        <a:buFont typeface="Open Sans Light" panose="020B0306030504020204" pitchFamily="34" charset="0"/>
                        <a:buNone/>
                        <a:tabLst/>
                        <a:defRPr/>
                      </a:pPr>
                      <a:r>
                        <a:rPr kumimoji="0" lang="de-AT" sz="1200" b="0"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sicheren und kontinuierlichen Betrieb</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
                          <a:srgbClr val="012169"/>
                        </a:buClr>
                        <a:buSzPct val="125000"/>
                        <a:buFont typeface="Open Sans Light" panose="020B0306030504020204" pitchFamily="34" charset="0"/>
                        <a:buNone/>
                        <a:tabLst/>
                        <a:defRPr/>
                      </a:pPr>
                      <a:r>
                        <a:rPr kumimoji="0" lang="de-AT" sz="1200" b="1"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IT-Security </a:t>
                      </a:r>
                      <a:r>
                        <a:rPr kumimoji="0" lang="de-AT" sz="1200" b="0"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priorisiert</a:t>
                      </a:r>
                      <a:r>
                        <a:rPr kumimoji="0" lang="de-AT" sz="1200" b="1"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 Vertraulichkeit </a:t>
                      </a:r>
                      <a:br>
                        <a:rPr kumimoji="0" lang="de-AT" sz="1200" b="1"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br>
                      <a:r>
                        <a:rPr kumimoji="0" lang="de-AT" sz="1200" b="0" i="0" u="none" strike="noStrike" kern="0" cap="none" spc="0" normalizeH="0" baseline="0" noProof="0">
                          <a:ln>
                            <a:noFill/>
                          </a:ln>
                          <a:solidFill>
                            <a:srgbClr val="535353"/>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zum Schutz sensibler Date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3715976"/>
                  </a:ext>
                </a:extLst>
              </a:tr>
            </a:tbl>
          </a:graphicData>
        </a:graphic>
      </p:graphicFrame>
      <p:grpSp>
        <p:nvGrpSpPr>
          <p:cNvPr id="272" name="Group 271">
            <a:extLst>
              <a:ext uri="{FF2B5EF4-FFF2-40B4-BE49-F238E27FC236}">
                <a16:creationId xmlns:a16="http://schemas.microsoft.com/office/drawing/2014/main" id="{860A5BCD-8908-D083-D3A9-8264BACF7098}"/>
              </a:ext>
            </a:extLst>
          </p:cNvPr>
          <p:cNvGrpSpPr>
            <a:grpSpLocks/>
          </p:cNvGrpSpPr>
          <p:nvPr/>
        </p:nvGrpSpPr>
        <p:grpSpPr>
          <a:xfrm>
            <a:off x="3576027" y="5411260"/>
            <a:ext cx="360000" cy="360000"/>
            <a:chOff x="10844922" y="3944461"/>
            <a:chExt cx="324000" cy="324000"/>
          </a:xfrm>
          <a:solidFill>
            <a:schemeClr val="accent4"/>
          </a:solidFill>
        </p:grpSpPr>
        <p:sp>
          <p:nvSpPr>
            <p:cNvPr id="273" name="Freeform 10">
              <a:extLst>
                <a:ext uri="{FF2B5EF4-FFF2-40B4-BE49-F238E27FC236}">
                  <a16:creationId xmlns:a16="http://schemas.microsoft.com/office/drawing/2014/main" id="{2BBC0AD8-C74B-45E7-0DDD-40F1401067FA}"/>
                </a:ext>
              </a:extLst>
            </p:cNvPr>
            <p:cNvSpPr>
              <a:spLocks noEditPoints="1"/>
            </p:cNvSpPr>
            <p:nvPr/>
          </p:nvSpPr>
          <p:spPr bwMode="auto">
            <a:xfrm>
              <a:off x="10844922" y="3944461"/>
              <a:ext cx="324000" cy="32400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chemeClr val="tx2"/>
                </a:solidFill>
                <a:effectLst/>
                <a:uLnTx/>
                <a:uFillTx/>
                <a:latin typeface="Calibri Light" panose="020F0302020204030204" pitchFamily="34" charset="0"/>
                <a:cs typeface="Calibri Light" panose="020F0302020204030204" pitchFamily="34" charset="0"/>
                <a:sym typeface="Calibri" panose="020F0502020204030204" pitchFamily="34" charset="0"/>
              </a:endParaRPr>
            </a:p>
          </p:txBody>
        </p:sp>
        <p:sp>
          <p:nvSpPr>
            <p:cNvPr id="274" name="Freeform 9">
              <a:extLst>
                <a:ext uri="{FF2B5EF4-FFF2-40B4-BE49-F238E27FC236}">
                  <a16:creationId xmlns:a16="http://schemas.microsoft.com/office/drawing/2014/main" id="{F579AD82-C209-3DFB-32A1-989727D6755D}"/>
                </a:ext>
              </a:extLst>
            </p:cNvPr>
            <p:cNvSpPr>
              <a:spLocks noEditPoints="1"/>
            </p:cNvSpPr>
            <p:nvPr/>
          </p:nvSpPr>
          <p:spPr bwMode="auto">
            <a:xfrm>
              <a:off x="10904957" y="4017838"/>
              <a:ext cx="203929" cy="176294"/>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chemeClr val="tx2"/>
                </a:solidFill>
                <a:effectLst/>
                <a:uLnTx/>
                <a:uFillTx/>
                <a:latin typeface="Calibri Light" panose="020F0302020204030204" pitchFamily="34" charset="0"/>
                <a:cs typeface="Calibri Light" panose="020F0302020204030204" pitchFamily="34" charset="0"/>
                <a:sym typeface="Calibri" panose="020F0502020204030204" pitchFamily="34" charset="0"/>
              </a:endParaRPr>
            </a:p>
          </p:txBody>
        </p:sp>
      </p:grpSp>
      <p:grpSp>
        <p:nvGrpSpPr>
          <p:cNvPr id="15" name="Group 14">
            <a:extLst>
              <a:ext uri="{FF2B5EF4-FFF2-40B4-BE49-F238E27FC236}">
                <a16:creationId xmlns:a16="http://schemas.microsoft.com/office/drawing/2014/main" id="{C76F6023-5D10-FC9E-8DEF-B7258273DD1E}"/>
              </a:ext>
            </a:extLst>
          </p:cNvPr>
          <p:cNvGrpSpPr/>
          <p:nvPr/>
        </p:nvGrpSpPr>
        <p:grpSpPr>
          <a:xfrm>
            <a:off x="641117" y="1452196"/>
            <a:ext cx="6391154" cy="3367190"/>
            <a:chOff x="641117" y="1452196"/>
            <a:chExt cx="6391154" cy="3367190"/>
          </a:xfrm>
        </p:grpSpPr>
        <p:sp>
          <p:nvSpPr>
            <p:cNvPr id="184" name="Oval 183">
              <a:extLst>
                <a:ext uri="{FF2B5EF4-FFF2-40B4-BE49-F238E27FC236}">
                  <a16:creationId xmlns:a16="http://schemas.microsoft.com/office/drawing/2014/main" id="{BB55A881-0396-CC35-61BA-DB404283E384}"/>
                </a:ext>
              </a:extLst>
            </p:cNvPr>
            <p:cNvSpPr/>
            <p:nvPr/>
          </p:nvSpPr>
          <p:spPr>
            <a:xfrm rot="19880991">
              <a:off x="3329902" y="1452196"/>
              <a:ext cx="782149"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86" name="Oval 185">
              <a:extLst>
                <a:ext uri="{FF2B5EF4-FFF2-40B4-BE49-F238E27FC236}">
                  <a16:creationId xmlns:a16="http://schemas.microsoft.com/office/drawing/2014/main" id="{AA750867-7D9F-D6C7-81BA-593E7AD25941}"/>
                </a:ext>
              </a:extLst>
            </p:cNvPr>
            <p:cNvSpPr/>
            <p:nvPr/>
          </p:nvSpPr>
          <p:spPr>
            <a:xfrm rot="19880991">
              <a:off x="3293479" y="3473297"/>
              <a:ext cx="1100236"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51" name="Oval 50">
              <a:extLst>
                <a:ext uri="{FF2B5EF4-FFF2-40B4-BE49-F238E27FC236}">
                  <a16:creationId xmlns:a16="http://schemas.microsoft.com/office/drawing/2014/main" id="{AD3E320E-4AF9-2402-0426-43C2FF5F609D}"/>
                </a:ext>
              </a:extLst>
            </p:cNvPr>
            <p:cNvSpPr>
              <a:spLocks/>
            </p:cNvSpPr>
            <p:nvPr/>
          </p:nvSpPr>
          <p:spPr>
            <a:xfrm>
              <a:off x="4342430" y="3648309"/>
              <a:ext cx="890424" cy="890424"/>
            </a:xfrm>
            <a:prstGeom prst="ellipse">
              <a:avLst/>
            </a:prstGeom>
            <a:solidFill>
              <a:schemeClr val="bg1"/>
            </a:solidFill>
            <a:ln w="3175" cap="flat">
              <a:solidFill>
                <a:schemeClr val="bg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82" name="Oval 181">
              <a:extLst>
                <a:ext uri="{FF2B5EF4-FFF2-40B4-BE49-F238E27FC236}">
                  <a16:creationId xmlns:a16="http://schemas.microsoft.com/office/drawing/2014/main" id="{CABC8430-B627-9E3B-44EC-60F6DF0752B0}"/>
                </a:ext>
              </a:extLst>
            </p:cNvPr>
            <p:cNvSpPr/>
            <p:nvPr/>
          </p:nvSpPr>
          <p:spPr>
            <a:xfrm rot="19880991">
              <a:off x="4990749" y="3696132"/>
              <a:ext cx="313733"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81" name="Oval 180">
              <a:extLst>
                <a:ext uri="{FF2B5EF4-FFF2-40B4-BE49-F238E27FC236}">
                  <a16:creationId xmlns:a16="http://schemas.microsoft.com/office/drawing/2014/main" id="{C99C778B-2788-DE33-B286-5A5A08ACEE23}"/>
                </a:ext>
              </a:extLst>
            </p:cNvPr>
            <p:cNvSpPr/>
            <p:nvPr/>
          </p:nvSpPr>
          <p:spPr>
            <a:xfrm rot="19880991">
              <a:off x="3382279" y="2781440"/>
              <a:ext cx="782149"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80" name="Oval 179">
              <a:extLst>
                <a:ext uri="{FF2B5EF4-FFF2-40B4-BE49-F238E27FC236}">
                  <a16:creationId xmlns:a16="http://schemas.microsoft.com/office/drawing/2014/main" id="{89A9366E-2C07-ECCD-2DD4-FD05784D383A}"/>
                </a:ext>
              </a:extLst>
            </p:cNvPr>
            <p:cNvSpPr/>
            <p:nvPr/>
          </p:nvSpPr>
          <p:spPr>
            <a:xfrm rot="19880991">
              <a:off x="4203808" y="3661967"/>
              <a:ext cx="782149"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55" name="Oval 54">
              <a:extLst>
                <a:ext uri="{FF2B5EF4-FFF2-40B4-BE49-F238E27FC236}">
                  <a16:creationId xmlns:a16="http://schemas.microsoft.com/office/drawing/2014/main" id="{04D73612-2DB4-2351-6F06-15D94A7194C9}"/>
                </a:ext>
              </a:extLst>
            </p:cNvPr>
            <p:cNvSpPr>
              <a:spLocks/>
            </p:cNvSpPr>
            <p:nvPr/>
          </p:nvSpPr>
          <p:spPr>
            <a:xfrm rot="15894312">
              <a:off x="3268710" y="1659110"/>
              <a:ext cx="890424" cy="890424"/>
            </a:xfrm>
            <a:prstGeom prst="ellipse">
              <a:avLst/>
            </a:prstGeom>
            <a:solidFill>
              <a:schemeClr val="bg1"/>
            </a:solidFill>
            <a:ln w="3175" cap="flat">
              <a:solidFill>
                <a:schemeClr val="bg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79" name="Oval 178">
              <a:extLst>
                <a:ext uri="{FF2B5EF4-FFF2-40B4-BE49-F238E27FC236}">
                  <a16:creationId xmlns:a16="http://schemas.microsoft.com/office/drawing/2014/main" id="{57CCE138-BCEB-4FD4-D797-FCA7A8AA8940}"/>
                </a:ext>
              </a:extLst>
            </p:cNvPr>
            <p:cNvSpPr/>
            <p:nvPr/>
          </p:nvSpPr>
          <p:spPr>
            <a:xfrm rot="19880991">
              <a:off x="3262775" y="2018543"/>
              <a:ext cx="782149"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52" name="Oval 51">
              <a:extLst>
                <a:ext uri="{FF2B5EF4-FFF2-40B4-BE49-F238E27FC236}">
                  <a16:creationId xmlns:a16="http://schemas.microsoft.com/office/drawing/2014/main" id="{C8734BF5-716C-5230-478F-A3AE469BCBB4}"/>
                </a:ext>
              </a:extLst>
            </p:cNvPr>
            <p:cNvSpPr>
              <a:spLocks/>
            </p:cNvSpPr>
            <p:nvPr/>
          </p:nvSpPr>
          <p:spPr>
            <a:xfrm>
              <a:off x="2203388" y="3676188"/>
              <a:ext cx="890424" cy="890424"/>
            </a:xfrm>
            <a:prstGeom prst="ellipse">
              <a:avLst/>
            </a:prstGeom>
            <a:solidFill>
              <a:schemeClr val="bg1"/>
            </a:solidFill>
            <a:ln w="3175" cap="flat">
              <a:solidFill>
                <a:schemeClr val="bg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78" name="Oval 177">
              <a:extLst>
                <a:ext uri="{FF2B5EF4-FFF2-40B4-BE49-F238E27FC236}">
                  <a16:creationId xmlns:a16="http://schemas.microsoft.com/office/drawing/2014/main" id="{E283A9D0-007D-8297-4E32-A1DD7049C7DB}"/>
                </a:ext>
              </a:extLst>
            </p:cNvPr>
            <p:cNvSpPr/>
            <p:nvPr/>
          </p:nvSpPr>
          <p:spPr>
            <a:xfrm rot="19880991">
              <a:off x="2579627" y="3634478"/>
              <a:ext cx="642449" cy="64197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cxnSp>
          <p:nvCxnSpPr>
            <p:cNvPr id="57" name="Straight Connector 56">
              <a:extLst>
                <a:ext uri="{FF2B5EF4-FFF2-40B4-BE49-F238E27FC236}">
                  <a16:creationId xmlns:a16="http://schemas.microsoft.com/office/drawing/2014/main" id="{FC9CC8E2-890E-7CB6-A875-F46A3AC3B235}"/>
                </a:ext>
              </a:extLst>
            </p:cNvPr>
            <p:cNvCxnSpPr>
              <a:cxnSpLocks/>
              <a:stCxn id="46" idx="4"/>
              <a:endCxn id="49" idx="0"/>
            </p:cNvCxnSpPr>
            <p:nvPr/>
          </p:nvCxnSpPr>
          <p:spPr>
            <a:xfrm>
              <a:off x="3713922" y="2431333"/>
              <a:ext cx="0" cy="344359"/>
            </a:xfrm>
            <a:prstGeom prst="line">
              <a:avLst/>
            </a:prstGeom>
            <a:noFill/>
            <a:ln w="3175"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59" name="Straight Connector 58">
              <a:extLst>
                <a:ext uri="{FF2B5EF4-FFF2-40B4-BE49-F238E27FC236}">
                  <a16:creationId xmlns:a16="http://schemas.microsoft.com/office/drawing/2014/main" id="{F46D72F2-EC6B-64E8-D0EC-0E0A3F84DB1D}"/>
                </a:ext>
              </a:extLst>
            </p:cNvPr>
            <p:cNvCxnSpPr>
              <a:cxnSpLocks/>
              <a:stCxn id="49" idx="5"/>
              <a:endCxn id="48" idx="1"/>
            </p:cNvCxnSpPr>
            <p:nvPr/>
          </p:nvCxnSpPr>
          <p:spPr>
            <a:xfrm>
              <a:off x="4032120" y="3543890"/>
              <a:ext cx="518021" cy="341737"/>
            </a:xfrm>
            <a:prstGeom prst="line">
              <a:avLst/>
            </a:prstGeom>
            <a:noFill/>
            <a:ln w="3175"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F770DDF6-4E62-98EB-EA4A-FE93C86273D3}"/>
                </a:ext>
              </a:extLst>
            </p:cNvPr>
            <p:cNvCxnSpPr>
              <a:cxnSpLocks/>
              <a:stCxn id="49" idx="3"/>
              <a:endCxn id="47" idx="7"/>
            </p:cNvCxnSpPr>
            <p:nvPr/>
          </p:nvCxnSpPr>
          <p:spPr>
            <a:xfrm flipH="1">
              <a:off x="2877703" y="3543890"/>
              <a:ext cx="518021" cy="348407"/>
            </a:xfrm>
            <a:prstGeom prst="line">
              <a:avLst/>
            </a:prstGeom>
            <a:noFill/>
            <a:ln w="3175"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153" name="Straight Connector 152">
              <a:extLst>
                <a:ext uri="{FF2B5EF4-FFF2-40B4-BE49-F238E27FC236}">
                  <a16:creationId xmlns:a16="http://schemas.microsoft.com/office/drawing/2014/main" id="{10666166-01C8-8EB5-5557-9ABA874FD161}"/>
                </a:ext>
              </a:extLst>
            </p:cNvPr>
            <p:cNvCxnSpPr>
              <a:cxnSpLocks/>
              <a:stCxn id="46" idx="5"/>
              <a:endCxn id="48" idx="0"/>
            </p:cNvCxnSpPr>
            <p:nvPr/>
          </p:nvCxnSpPr>
          <p:spPr>
            <a:xfrm>
              <a:off x="3943025" y="2336436"/>
              <a:ext cx="836219" cy="1454294"/>
            </a:xfrm>
            <a:prstGeom prst="line">
              <a:avLst/>
            </a:prstGeom>
            <a:noFill/>
            <a:ln w="3175"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159" name="Straight Connector 158">
              <a:extLst>
                <a:ext uri="{FF2B5EF4-FFF2-40B4-BE49-F238E27FC236}">
                  <a16:creationId xmlns:a16="http://schemas.microsoft.com/office/drawing/2014/main" id="{826DC6D5-1E55-CA0F-50DE-A233ECA7B0B8}"/>
                </a:ext>
              </a:extLst>
            </p:cNvPr>
            <p:cNvCxnSpPr>
              <a:cxnSpLocks/>
              <a:stCxn id="46" idx="3"/>
              <a:endCxn id="47" idx="0"/>
            </p:cNvCxnSpPr>
            <p:nvPr/>
          </p:nvCxnSpPr>
          <p:spPr>
            <a:xfrm flipH="1">
              <a:off x="2648600" y="2336436"/>
              <a:ext cx="836219" cy="1460964"/>
            </a:xfrm>
            <a:prstGeom prst="line">
              <a:avLst/>
            </a:prstGeom>
            <a:noFill/>
            <a:ln w="3175"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162" name="Straight Connector 161">
              <a:extLst>
                <a:ext uri="{FF2B5EF4-FFF2-40B4-BE49-F238E27FC236}">
                  <a16:creationId xmlns:a16="http://schemas.microsoft.com/office/drawing/2014/main" id="{1C53B9A6-3021-AA03-13D5-D9FABBE954C9}"/>
                </a:ext>
              </a:extLst>
            </p:cNvPr>
            <p:cNvCxnSpPr>
              <a:cxnSpLocks/>
              <a:stCxn id="48" idx="2"/>
              <a:endCxn id="47" idx="6"/>
            </p:cNvCxnSpPr>
            <p:nvPr/>
          </p:nvCxnSpPr>
          <p:spPr>
            <a:xfrm flipH="1">
              <a:off x="2972600" y="4114730"/>
              <a:ext cx="1482644" cy="6670"/>
            </a:xfrm>
            <a:prstGeom prst="line">
              <a:avLst/>
            </a:prstGeom>
            <a:noFill/>
            <a:ln w="3175" cap="flat">
              <a:solidFill>
                <a:schemeClr val="tx2"/>
              </a:solidFill>
              <a:prstDash val="solid"/>
              <a:round/>
            </a:ln>
            <a:effectLst/>
            <a:sp3d/>
          </p:spPr>
          <p:style>
            <a:lnRef idx="0">
              <a:scrgbClr r="0" g="0" b="0"/>
            </a:lnRef>
            <a:fillRef idx="0">
              <a:scrgbClr r="0" g="0" b="0"/>
            </a:fillRef>
            <a:effectRef idx="0">
              <a:scrgbClr r="0" g="0" b="0"/>
            </a:effectRef>
            <a:fontRef idx="none"/>
          </p:style>
        </p:cxnSp>
        <p:grpSp>
          <p:nvGrpSpPr>
            <p:cNvPr id="9" name="Group 8">
              <a:extLst>
                <a:ext uri="{FF2B5EF4-FFF2-40B4-BE49-F238E27FC236}">
                  <a16:creationId xmlns:a16="http://schemas.microsoft.com/office/drawing/2014/main" id="{875DE2C6-E14B-DB8E-0679-7A0176D2E149}"/>
                </a:ext>
              </a:extLst>
            </p:cNvPr>
            <p:cNvGrpSpPr>
              <a:grpSpLocks/>
            </p:cNvGrpSpPr>
            <p:nvPr/>
          </p:nvGrpSpPr>
          <p:grpSpPr>
            <a:xfrm>
              <a:off x="3389922" y="1783333"/>
              <a:ext cx="648000" cy="648000"/>
              <a:chOff x="3375765" y="1783333"/>
              <a:chExt cx="648000" cy="648000"/>
            </a:xfrm>
          </p:grpSpPr>
          <p:sp>
            <p:nvSpPr>
              <p:cNvPr id="46" name="Oval 45">
                <a:extLst>
                  <a:ext uri="{FF2B5EF4-FFF2-40B4-BE49-F238E27FC236}">
                    <a16:creationId xmlns:a16="http://schemas.microsoft.com/office/drawing/2014/main" id="{87D62630-F1DD-14D4-0C1D-B0B1238F1076}"/>
                  </a:ext>
                </a:extLst>
              </p:cNvPr>
              <p:cNvSpPr>
                <a:spLocks/>
              </p:cNvSpPr>
              <p:nvPr/>
            </p:nvSpPr>
            <p:spPr>
              <a:xfrm>
                <a:off x="3375765" y="1783333"/>
                <a:ext cx="648000" cy="648000"/>
              </a:xfrm>
              <a:prstGeom prst="ellipse">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197" name="Graphic 4">
                <a:extLst>
                  <a:ext uri="{FF2B5EF4-FFF2-40B4-BE49-F238E27FC236}">
                    <a16:creationId xmlns:a16="http://schemas.microsoft.com/office/drawing/2014/main" id="{E22116EA-3838-8A30-3350-BBD28BA4657D}"/>
                  </a:ext>
                </a:extLst>
              </p:cNvPr>
              <p:cNvSpPr>
                <a:spLocks/>
              </p:cNvSpPr>
              <p:nvPr/>
            </p:nvSpPr>
            <p:spPr>
              <a:xfrm>
                <a:off x="3556656" y="1911443"/>
                <a:ext cx="286218" cy="391780"/>
              </a:xfrm>
              <a:custGeom>
                <a:avLst/>
                <a:gdLst>
                  <a:gd name="connsiteX0" fmla="*/ 136745 w 143773"/>
                  <a:gd name="connsiteY0" fmla="*/ 93252 h 197310"/>
                  <a:gd name="connsiteX1" fmla="*/ 130355 w 143773"/>
                  <a:gd name="connsiteY1" fmla="*/ 93252 h 197310"/>
                  <a:gd name="connsiteX2" fmla="*/ 130355 w 143773"/>
                  <a:gd name="connsiteY2" fmla="*/ 60694 h 197310"/>
                  <a:gd name="connsiteX3" fmla="*/ 73484 w 143773"/>
                  <a:gd name="connsiteY3" fmla="*/ 46 h 197310"/>
                  <a:gd name="connsiteX4" fmla="*/ 12780 w 143773"/>
                  <a:gd name="connsiteY4" fmla="*/ 56863 h 197310"/>
                  <a:gd name="connsiteX5" fmla="*/ 12780 w 143773"/>
                  <a:gd name="connsiteY5" fmla="*/ 60694 h 197310"/>
                  <a:gd name="connsiteX6" fmla="*/ 12780 w 143773"/>
                  <a:gd name="connsiteY6" fmla="*/ 93252 h 197310"/>
                  <a:gd name="connsiteX7" fmla="*/ 6390 w 143773"/>
                  <a:gd name="connsiteY7" fmla="*/ 93252 h 197310"/>
                  <a:gd name="connsiteX8" fmla="*/ 0 w 143773"/>
                  <a:gd name="connsiteY8" fmla="*/ 99636 h 197310"/>
                  <a:gd name="connsiteX9" fmla="*/ 0 w 143773"/>
                  <a:gd name="connsiteY9" fmla="*/ 190927 h 197310"/>
                  <a:gd name="connsiteX10" fmla="*/ 6390 w 143773"/>
                  <a:gd name="connsiteY10" fmla="*/ 197311 h 197310"/>
                  <a:gd name="connsiteX11" fmla="*/ 137384 w 143773"/>
                  <a:gd name="connsiteY11" fmla="*/ 197311 h 197310"/>
                  <a:gd name="connsiteX12" fmla="*/ 143774 w 143773"/>
                  <a:gd name="connsiteY12" fmla="*/ 190927 h 197310"/>
                  <a:gd name="connsiteX13" fmla="*/ 143774 w 143773"/>
                  <a:gd name="connsiteY13" fmla="*/ 99636 h 197310"/>
                  <a:gd name="connsiteX14" fmla="*/ 137384 w 143773"/>
                  <a:gd name="connsiteY14" fmla="*/ 93252 h 197310"/>
                  <a:gd name="connsiteX15" fmla="*/ 136745 w 143773"/>
                  <a:gd name="connsiteY15" fmla="*/ 93252 h 197310"/>
                  <a:gd name="connsiteX16" fmla="*/ 25560 w 143773"/>
                  <a:gd name="connsiteY16" fmla="*/ 60694 h 197310"/>
                  <a:gd name="connsiteX17" fmla="*/ 69650 w 143773"/>
                  <a:gd name="connsiteY17" fmla="*/ 13452 h 197310"/>
                  <a:gd name="connsiteX18" fmla="*/ 116936 w 143773"/>
                  <a:gd name="connsiteY18" fmla="*/ 57502 h 197310"/>
                  <a:gd name="connsiteX19" fmla="*/ 116936 w 143773"/>
                  <a:gd name="connsiteY19" fmla="*/ 60694 h 197310"/>
                  <a:gd name="connsiteX20" fmla="*/ 116936 w 143773"/>
                  <a:gd name="connsiteY20" fmla="*/ 93252 h 197310"/>
                  <a:gd name="connsiteX21" fmla="*/ 25560 w 143773"/>
                  <a:gd name="connsiteY21" fmla="*/ 93252 h 197310"/>
                  <a:gd name="connsiteX22" fmla="*/ 25560 w 143773"/>
                  <a:gd name="connsiteY22" fmla="*/ 60694 h 197310"/>
                  <a:gd name="connsiteX23" fmla="*/ 130355 w 143773"/>
                  <a:gd name="connsiteY23" fmla="*/ 184543 h 197310"/>
                  <a:gd name="connsiteX24" fmla="*/ 12780 w 143773"/>
                  <a:gd name="connsiteY24" fmla="*/ 184543 h 197310"/>
                  <a:gd name="connsiteX25" fmla="*/ 12780 w 143773"/>
                  <a:gd name="connsiteY25" fmla="*/ 106020 h 197310"/>
                  <a:gd name="connsiteX26" fmla="*/ 130994 w 143773"/>
                  <a:gd name="connsiteY26" fmla="*/ 106020 h 197310"/>
                  <a:gd name="connsiteX27" fmla="*/ 130994 w 143773"/>
                  <a:gd name="connsiteY27" fmla="*/ 184543 h 19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773" h="197310">
                    <a:moveTo>
                      <a:pt x="136745" y="93252"/>
                    </a:moveTo>
                    <a:lnTo>
                      <a:pt x="130355" y="93252"/>
                    </a:lnTo>
                    <a:lnTo>
                      <a:pt x="130355" y="60694"/>
                    </a:lnTo>
                    <a:cubicBezTo>
                      <a:pt x="131633" y="28135"/>
                      <a:pt x="106073" y="1323"/>
                      <a:pt x="73484" y="46"/>
                    </a:cubicBezTo>
                    <a:cubicBezTo>
                      <a:pt x="40896" y="-1231"/>
                      <a:pt x="14058" y="24305"/>
                      <a:pt x="12780" y="56863"/>
                    </a:cubicBezTo>
                    <a:cubicBezTo>
                      <a:pt x="12780" y="58140"/>
                      <a:pt x="12780" y="59417"/>
                      <a:pt x="12780" y="60694"/>
                    </a:cubicBezTo>
                    <a:lnTo>
                      <a:pt x="12780" y="93252"/>
                    </a:lnTo>
                    <a:lnTo>
                      <a:pt x="6390" y="93252"/>
                    </a:lnTo>
                    <a:cubicBezTo>
                      <a:pt x="2556" y="93252"/>
                      <a:pt x="0" y="95806"/>
                      <a:pt x="0" y="99636"/>
                    </a:cubicBezTo>
                    <a:lnTo>
                      <a:pt x="0" y="190927"/>
                    </a:lnTo>
                    <a:cubicBezTo>
                      <a:pt x="0" y="194757"/>
                      <a:pt x="2556" y="197311"/>
                      <a:pt x="6390" y="197311"/>
                    </a:cubicBezTo>
                    <a:lnTo>
                      <a:pt x="137384" y="197311"/>
                    </a:lnTo>
                    <a:cubicBezTo>
                      <a:pt x="141218" y="197311"/>
                      <a:pt x="143774" y="194757"/>
                      <a:pt x="143774" y="190927"/>
                    </a:cubicBezTo>
                    <a:lnTo>
                      <a:pt x="143774" y="99636"/>
                    </a:lnTo>
                    <a:cubicBezTo>
                      <a:pt x="143774" y="95806"/>
                      <a:pt x="141218" y="93252"/>
                      <a:pt x="137384" y="93252"/>
                    </a:cubicBezTo>
                    <a:cubicBezTo>
                      <a:pt x="137384" y="93252"/>
                      <a:pt x="137384" y="93252"/>
                      <a:pt x="136745" y="93252"/>
                    </a:cubicBezTo>
                    <a:close/>
                    <a:moveTo>
                      <a:pt x="25560" y="60694"/>
                    </a:moveTo>
                    <a:cubicBezTo>
                      <a:pt x="24921" y="35158"/>
                      <a:pt x="44091" y="14091"/>
                      <a:pt x="69650" y="13452"/>
                    </a:cubicBezTo>
                    <a:cubicBezTo>
                      <a:pt x="95210" y="12814"/>
                      <a:pt x="116297" y="31966"/>
                      <a:pt x="116936" y="57502"/>
                    </a:cubicBezTo>
                    <a:cubicBezTo>
                      <a:pt x="116936" y="58778"/>
                      <a:pt x="116936" y="60055"/>
                      <a:pt x="116936" y="60694"/>
                    </a:cubicBezTo>
                    <a:lnTo>
                      <a:pt x="116936" y="93252"/>
                    </a:lnTo>
                    <a:lnTo>
                      <a:pt x="25560" y="93252"/>
                    </a:lnTo>
                    <a:lnTo>
                      <a:pt x="25560" y="60694"/>
                    </a:lnTo>
                    <a:close/>
                    <a:moveTo>
                      <a:pt x="130355" y="184543"/>
                    </a:moveTo>
                    <a:lnTo>
                      <a:pt x="12780" y="184543"/>
                    </a:lnTo>
                    <a:lnTo>
                      <a:pt x="12780" y="106020"/>
                    </a:lnTo>
                    <a:lnTo>
                      <a:pt x="130994" y="106020"/>
                    </a:lnTo>
                    <a:lnTo>
                      <a:pt x="130994" y="184543"/>
                    </a:lnTo>
                    <a:close/>
                  </a:path>
                </a:pathLst>
              </a:custGeom>
              <a:solidFill>
                <a:schemeClr val="bg1"/>
              </a:solidFill>
              <a:ln w="6390" cap="flat">
                <a:noFill/>
                <a:prstDash val="solid"/>
                <a:miter/>
              </a:ln>
            </p:spPr>
            <p:txBody>
              <a:bodyPr rtlCol="0" anchor="ctr"/>
              <a:lstStyle/>
              <a:p>
                <a:endParaRPr lang="de-AT" noProof="0"/>
              </a:p>
            </p:txBody>
          </p:sp>
        </p:grpSp>
        <p:grpSp>
          <p:nvGrpSpPr>
            <p:cNvPr id="11" name="Group 10">
              <a:extLst>
                <a:ext uri="{FF2B5EF4-FFF2-40B4-BE49-F238E27FC236}">
                  <a16:creationId xmlns:a16="http://schemas.microsoft.com/office/drawing/2014/main" id="{AA8FE2A3-DFDC-A029-CC9E-06E336079BD0}"/>
                </a:ext>
              </a:extLst>
            </p:cNvPr>
            <p:cNvGrpSpPr/>
            <p:nvPr/>
          </p:nvGrpSpPr>
          <p:grpSpPr>
            <a:xfrm>
              <a:off x="4455244" y="3790730"/>
              <a:ext cx="648000" cy="648000"/>
              <a:chOff x="4455244" y="3790730"/>
              <a:chExt cx="648000" cy="648000"/>
            </a:xfrm>
          </p:grpSpPr>
          <p:sp>
            <p:nvSpPr>
              <p:cNvPr id="48" name="Oval 47">
                <a:extLst>
                  <a:ext uri="{FF2B5EF4-FFF2-40B4-BE49-F238E27FC236}">
                    <a16:creationId xmlns:a16="http://schemas.microsoft.com/office/drawing/2014/main" id="{D89A779F-F0B4-B975-8738-2117D47BE897}"/>
                  </a:ext>
                </a:extLst>
              </p:cNvPr>
              <p:cNvSpPr>
                <a:spLocks/>
              </p:cNvSpPr>
              <p:nvPr/>
            </p:nvSpPr>
            <p:spPr>
              <a:xfrm>
                <a:off x="4455244" y="3790730"/>
                <a:ext cx="648000" cy="648000"/>
              </a:xfrm>
              <a:prstGeom prst="ellipse">
                <a:avLst/>
              </a:prstGeom>
              <a:solidFill>
                <a:schemeClr val="accent4"/>
              </a:solidFill>
              <a:ln w="25400" cap="flat">
                <a:solidFill>
                  <a:schemeClr val="accent4"/>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213" name="Graphic 4">
                <a:extLst>
                  <a:ext uri="{FF2B5EF4-FFF2-40B4-BE49-F238E27FC236}">
                    <a16:creationId xmlns:a16="http://schemas.microsoft.com/office/drawing/2014/main" id="{DD6ED2BF-7D4B-55A5-6A20-FE1E32C35694}"/>
                  </a:ext>
                </a:extLst>
              </p:cNvPr>
              <p:cNvSpPr>
                <a:spLocks/>
              </p:cNvSpPr>
              <p:nvPr/>
            </p:nvSpPr>
            <p:spPr>
              <a:xfrm>
                <a:off x="4602362" y="3969587"/>
                <a:ext cx="353763" cy="290286"/>
              </a:xfrm>
              <a:custGeom>
                <a:avLst/>
                <a:gdLst>
                  <a:gd name="connsiteX0" fmla="*/ 187225 w 197798"/>
                  <a:gd name="connsiteY0" fmla="*/ 15960 h 162153"/>
                  <a:gd name="connsiteX1" fmla="*/ 162304 w 197798"/>
                  <a:gd name="connsiteY1" fmla="*/ 37666 h 162153"/>
                  <a:gd name="connsiteX2" fmla="*/ 162304 w 197798"/>
                  <a:gd name="connsiteY2" fmla="*/ 6384 h 162153"/>
                  <a:gd name="connsiteX3" fmla="*/ 155914 w 197798"/>
                  <a:gd name="connsiteY3" fmla="*/ 0 h 162153"/>
                  <a:gd name="connsiteX4" fmla="*/ 6390 w 197798"/>
                  <a:gd name="connsiteY4" fmla="*/ 0 h 162153"/>
                  <a:gd name="connsiteX5" fmla="*/ 0 w 197798"/>
                  <a:gd name="connsiteY5" fmla="*/ 6384 h 162153"/>
                  <a:gd name="connsiteX6" fmla="*/ 0 w 197798"/>
                  <a:gd name="connsiteY6" fmla="*/ 155769 h 162153"/>
                  <a:gd name="connsiteX7" fmla="*/ 6390 w 197798"/>
                  <a:gd name="connsiteY7" fmla="*/ 162153 h 162153"/>
                  <a:gd name="connsiteX8" fmla="*/ 155914 w 197798"/>
                  <a:gd name="connsiteY8" fmla="*/ 162153 h 162153"/>
                  <a:gd name="connsiteX9" fmla="*/ 162304 w 197798"/>
                  <a:gd name="connsiteY9" fmla="*/ 155769 h 162153"/>
                  <a:gd name="connsiteX10" fmla="*/ 162304 w 197798"/>
                  <a:gd name="connsiteY10" fmla="*/ 54264 h 162153"/>
                  <a:gd name="connsiteX11" fmla="*/ 195532 w 197798"/>
                  <a:gd name="connsiteY11" fmla="*/ 24898 h 162153"/>
                  <a:gd name="connsiteX12" fmla="*/ 196171 w 197798"/>
                  <a:gd name="connsiteY12" fmla="*/ 15960 h 162153"/>
                  <a:gd name="connsiteX13" fmla="*/ 196171 w 197798"/>
                  <a:gd name="connsiteY13" fmla="*/ 15960 h 162153"/>
                  <a:gd name="connsiteX14" fmla="*/ 187225 w 197798"/>
                  <a:gd name="connsiteY14" fmla="*/ 15960 h 162153"/>
                  <a:gd name="connsiteX15" fmla="*/ 187225 w 197798"/>
                  <a:gd name="connsiteY15" fmla="*/ 15960 h 162153"/>
                  <a:gd name="connsiteX16" fmla="*/ 149524 w 197798"/>
                  <a:gd name="connsiteY16" fmla="*/ 149385 h 162153"/>
                  <a:gd name="connsiteX17" fmla="*/ 12780 w 197798"/>
                  <a:gd name="connsiteY17" fmla="*/ 149385 h 162153"/>
                  <a:gd name="connsiteX18" fmla="*/ 12780 w 197798"/>
                  <a:gd name="connsiteY18" fmla="*/ 12768 h 162153"/>
                  <a:gd name="connsiteX19" fmla="*/ 149524 w 197798"/>
                  <a:gd name="connsiteY19" fmla="*/ 12768 h 162153"/>
                  <a:gd name="connsiteX20" fmla="*/ 149524 w 197798"/>
                  <a:gd name="connsiteY20" fmla="*/ 49157 h 162153"/>
                  <a:gd name="connsiteX21" fmla="*/ 78596 w 197798"/>
                  <a:gd name="connsiteY21" fmla="*/ 111720 h 162153"/>
                  <a:gd name="connsiteX22" fmla="*/ 47285 w 197798"/>
                  <a:gd name="connsiteY22" fmla="*/ 74054 h 162153"/>
                  <a:gd name="connsiteX23" fmla="*/ 38340 w 197798"/>
                  <a:gd name="connsiteY23" fmla="*/ 73416 h 162153"/>
                  <a:gd name="connsiteX24" fmla="*/ 37701 w 197798"/>
                  <a:gd name="connsiteY24" fmla="*/ 82354 h 162153"/>
                  <a:gd name="connsiteX25" fmla="*/ 73484 w 197798"/>
                  <a:gd name="connsiteY25" fmla="*/ 125126 h 162153"/>
                  <a:gd name="connsiteX26" fmla="*/ 73484 w 197798"/>
                  <a:gd name="connsiteY26" fmla="*/ 125126 h 162153"/>
                  <a:gd name="connsiteX27" fmla="*/ 74762 w 197798"/>
                  <a:gd name="connsiteY27" fmla="*/ 126403 h 162153"/>
                  <a:gd name="connsiteX28" fmla="*/ 75401 w 197798"/>
                  <a:gd name="connsiteY28" fmla="*/ 127041 h 162153"/>
                  <a:gd name="connsiteX29" fmla="*/ 77957 w 197798"/>
                  <a:gd name="connsiteY29" fmla="*/ 127680 h 162153"/>
                  <a:gd name="connsiteX30" fmla="*/ 77957 w 197798"/>
                  <a:gd name="connsiteY30" fmla="*/ 127680 h 162153"/>
                  <a:gd name="connsiteX31" fmla="*/ 79874 w 197798"/>
                  <a:gd name="connsiteY31" fmla="*/ 127041 h 162153"/>
                  <a:gd name="connsiteX32" fmla="*/ 80513 w 197798"/>
                  <a:gd name="connsiteY32" fmla="*/ 126403 h 162153"/>
                  <a:gd name="connsiteX33" fmla="*/ 81791 w 197798"/>
                  <a:gd name="connsiteY33" fmla="*/ 125765 h 162153"/>
                  <a:gd name="connsiteX34" fmla="*/ 81791 w 197798"/>
                  <a:gd name="connsiteY34" fmla="*/ 125765 h 162153"/>
                  <a:gd name="connsiteX35" fmla="*/ 149524 w 197798"/>
                  <a:gd name="connsiteY35" fmla="*/ 66394 h 162153"/>
                  <a:gd name="connsiteX36" fmla="*/ 149524 w 197798"/>
                  <a:gd name="connsiteY36" fmla="*/ 149385 h 16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7798" h="162153">
                    <a:moveTo>
                      <a:pt x="187225" y="15960"/>
                    </a:moveTo>
                    <a:lnTo>
                      <a:pt x="162304" y="37666"/>
                    </a:lnTo>
                    <a:lnTo>
                      <a:pt x="162304" y="6384"/>
                    </a:lnTo>
                    <a:cubicBezTo>
                      <a:pt x="162304" y="2554"/>
                      <a:pt x="159748" y="0"/>
                      <a:pt x="155914" y="0"/>
                    </a:cubicBezTo>
                    <a:lnTo>
                      <a:pt x="6390" y="0"/>
                    </a:lnTo>
                    <a:cubicBezTo>
                      <a:pt x="2556" y="0"/>
                      <a:pt x="0" y="2554"/>
                      <a:pt x="0" y="6384"/>
                    </a:cubicBezTo>
                    <a:lnTo>
                      <a:pt x="0" y="155769"/>
                    </a:lnTo>
                    <a:cubicBezTo>
                      <a:pt x="0" y="159600"/>
                      <a:pt x="2556" y="162153"/>
                      <a:pt x="6390" y="162153"/>
                    </a:cubicBezTo>
                    <a:lnTo>
                      <a:pt x="155914" y="162153"/>
                    </a:lnTo>
                    <a:cubicBezTo>
                      <a:pt x="159748" y="162153"/>
                      <a:pt x="162304" y="159600"/>
                      <a:pt x="162304" y="155769"/>
                    </a:cubicBezTo>
                    <a:lnTo>
                      <a:pt x="162304" y="54264"/>
                    </a:lnTo>
                    <a:lnTo>
                      <a:pt x="195532" y="24898"/>
                    </a:lnTo>
                    <a:cubicBezTo>
                      <a:pt x="198088" y="22344"/>
                      <a:pt x="198727" y="18514"/>
                      <a:pt x="196171" y="15960"/>
                    </a:cubicBezTo>
                    <a:cubicBezTo>
                      <a:pt x="196171" y="15960"/>
                      <a:pt x="196171" y="15960"/>
                      <a:pt x="196171" y="15960"/>
                    </a:cubicBezTo>
                    <a:cubicBezTo>
                      <a:pt x="194254" y="13406"/>
                      <a:pt x="189781" y="13406"/>
                      <a:pt x="187225" y="15960"/>
                    </a:cubicBezTo>
                    <a:cubicBezTo>
                      <a:pt x="187225" y="15960"/>
                      <a:pt x="187225" y="15960"/>
                      <a:pt x="187225" y="15960"/>
                    </a:cubicBezTo>
                    <a:close/>
                    <a:moveTo>
                      <a:pt x="149524" y="149385"/>
                    </a:moveTo>
                    <a:lnTo>
                      <a:pt x="12780" y="149385"/>
                    </a:lnTo>
                    <a:lnTo>
                      <a:pt x="12780" y="12768"/>
                    </a:lnTo>
                    <a:lnTo>
                      <a:pt x="149524" y="12768"/>
                    </a:lnTo>
                    <a:lnTo>
                      <a:pt x="149524" y="49157"/>
                    </a:lnTo>
                    <a:lnTo>
                      <a:pt x="78596" y="111720"/>
                    </a:lnTo>
                    <a:lnTo>
                      <a:pt x="47285" y="74054"/>
                    </a:lnTo>
                    <a:cubicBezTo>
                      <a:pt x="44730" y="71501"/>
                      <a:pt x="40896" y="70862"/>
                      <a:pt x="38340" y="73416"/>
                    </a:cubicBezTo>
                    <a:cubicBezTo>
                      <a:pt x="35784" y="75970"/>
                      <a:pt x="35145" y="79800"/>
                      <a:pt x="37701" y="82354"/>
                    </a:cubicBezTo>
                    <a:lnTo>
                      <a:pt x="73484" y="125126"/>
                    </a:lnTo>
                    <a:lnTo>
                      <a:pt x="73484" y="125126"/>
                    </a:lnTo>
                    <a:cubicBezTo>
                      <a:pt x="74123" y="125765"/>
                      <a:pt x="74123" y="125765"/>
                      <a:pt x="74762" y="126403"/>
                    </a:cubicBezTo>
                    <a:lnTo>
                      <a:pt x="75401" y="127041"/>
                    </a:lnTo>
                    <a:cubicBezTo>
                      <a:pt x="76040" y="127680"/>
                      <a:pt x="77318" y="127680"/>
                      <a:pt x="77957" y="127680"/>
                    </a:cubicBezTo>
                    <a:lnTo>
                      <a:pt x="77957" y="127680"/>
                    </a:lnTo>
                    <a:cubicBezTo>
                      <a:pt x="78596" y="127680"/>
                      <a:pt x="79235" y="127680"/>
                      <a:pt x="79874" y="127041"/>
                    </a:cubicBezTo>
                    <a:lnTo>
                      <a:pt x="80513" y="126403"/>
                    </a:lnTo>
                    <a:cubicBezTo>
                      <a:pt x="81152" y="126403"/>
                      <a:pt x="81152" y="125765"/>
                      <a:pt x="81791" y="125765"/>
                    </a:cubicBezTo>
                    <a:lnTo>
                      <a:pt x="81791" y="125765"/>
                    </a:lnTo>
                    <a:lnTo>
                      <a:pt x="149524" y="66394"/>
                    </a:lnTo>
                    <a:lnTo>
                      <a:pt x="149524" y="149385"/>
                    </a:lnTo>
                    <a:close/>
                  </a:path>
                </a:pathLst>
              </a:custGeom>
              <a:solidFill>
                <a:schemeClr val="bg1"/>
              </a:solidFill>
              <a:ln w="6390" cap="flat">
                <a:noFill/>
                <a:prstDash val="solid"/>
                <a:miter/>
              </a:ln>
            </p:spPr>
            <p:txBody>
              <a:bodyPr rtlCol="0" anchor="ctr"/>
              <a:lstStyle/>
              <a:p>
                <a:endParaRPr lang="de-AT" noProof="0"/>
              </a:p>
            </p:txBody>
          </p:sp>
        </p:grpSp>
        <p:grpSp>
          <p:nvGrpSpPr>
            <p:cNvPr id="10" name="Group 9">
              <a:extLst>
                <a:ext uri="{FF2B5EF4-FFF2-40B4-BE49-F238E27FC236}">
                  <a16:creationId xmlns:a16="http://schemas.microsoft.com/office/drawing/2014/main" id="{14B34946-2E39-27A4-4390-FA9512B2A736}"/>
                </a:ext>
              </a:extLst>
            </p:cNvPr>
            <p:cNvGrpSpPr>
              <a:grpSpLocks/>
            </p:cNvGrpSpPr>
            <p:nvPr/>
          </p:nvGrpSpPr>
          <p:grpSpPr>
            <a:xfrm>
              <a:off x="2324600" y="3797400"/>
              <a:ext cx="648000" cy="648000"/>
              <a:chOff x="2324600" y="3797400"/>
              <a:chExt cx="648000" cy="648000"/>
            </a:xfrm>
          </p:grpSpPr>
          <p:sp>
            <p:nvSpPr>
              <p:cNvPr id="47" name="Oval 46">
                <a:extLst>
                  <a:ext uri="{FF2B5EF4-FFF2-40B4-BE49-F238E27FC236}">
                    <a16:creationId xmlns:a16="http://schemas.microsoft.com/office/drawing/2014/main" id="{D6741F10-835D-47EA-7ADD-53490ACC9D7D}"/>
                  </a:ext>
                </a:extLst>
              </p:cNvPr>
              <p:cNvSpPr>
                <a:spLocks/>
              </p:cNvSpPr>
              <p:nvPr/>
            </p:nvSpPr>
            <p:spPr>
              <a:xfrm>
                <a:off x="2324600" y="3797400"/>
                <a:ext cx="648000" cy="648000"/>
              </a:xfrm>
              <a:prstGeom prst="ellipse">
                <a:avLst/>
              </a:prstGeom>
              <a:solidFill>
                <a:schemeClr val="accent3"/>
              </a:solidFill>
              <a:ln w="254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grpSp>
            <p:nvGrpSpPr>
              <p:cNvPr id="214" name="Graphic 4">
                <a:extLst>
                  <a:ext uri="{FF2B5EF4-FFF2-40B4-BE49-F238E27FC236}">
                    <a16:creationId xmlns:a16="http://schemas.microsoft.com/office/drawing/2014/main" id="{9DDF88B2-C108-5138-A4F0-418DC91016F2}"/>
                  </a:ext>
                </a:extLst>
              </p:cNvPr>
              <p:cNvGrpSpPr>
                <a:grpSpLocks/>
              </p:cNvGrpSpPr>
              <p:nvPr/>
            </p:nvGrpSpPr>
            <p:grpSpPr>
              <a:xfrm>
                <a:off x="2436165" y="3987676"/>
                <a:ext cx="424870" cy="267447"/>
                <a:chOff x="5770901" y="2477626"/>
                <a:chExt cx="237555" cy="149395"/>
              </a:xfrm>
              <a:solidFill>
                <a:schemeClr val="bg1"/>
              </a:solidFill>
            </p:grpSpPr>
            <p:sp>
              <p:nvSpPr>
                <p:cNvPr id="221" name="Graphic 4">
                  <a:extLst>
                    <a:ext uri="{FF2B5EF4-FFF2-40B4-BE49-F238E27FC236}">
                      <a16:creationId xmlns:a16="http://schemas.microsoft.com/office/drawing/2014/main" id="{912D20F0-59C6-3C23-AD96-CDBC354D611F}"/>
                    </a:ext>
                  </a:extLst>
                </p:cNvPr>
                <p:cNvSpPr/>
                <p:nvPr/>
              </p:nvSpPr>
              <p:spPr>
                <a:xfrm>
                  <a:off x="5770901" y="2477626"/>
                  <a:ext cx="157124" cy="149395"/>
                </a:xfrm>
                <a:custGeom>
                  <a:avLst/>
                  <a:gdLst>
                    <a:gd name="connsiteX0" fmla="*/ 153848 w 157124"/>
                    <a:gd name="connsiteY0" fmla="*/ 136777 h 149395"/>
                    <a:gd name="connsiteX1" fmla="*/ 127010 w 157124"/>
                    <a:gd name="connsiteY1" fmla="*/ 131031 h 149395"/>
                    <a:gd name="connsiteX2" fmla="*/ 112953 w 157124"/>
                    <a:gd name="connsiteY2" fmla="*/ 128478 h 149395"/>
                    <a:gd name="connsiteX3" fmla="*/ 104007 w 157124"/>
                    <a:gd name="connsiteY3" fmla="*/ 104218 h 149395"/>
                    <a:gd name="connsiteX4" fmla="*/ 120621 w 157124"/>
                    <a:gd name="connsiteY4" fmla="*/ 67830 h 149395"/>
                    <a:gd name="connsiteX5" fmla="*/ 114231 w 157124"/>
                    <a:gd name="connsiteY5" fmla="*/ 14843 h 149395"/>
                    <a:gd name="connsiteX6" fmla="*/ 43302 w 157124"/>
                    <a:gd name="connsiteY6" fmla="*/ 14843 h 149395"/>
                    <a:gd name="connsiteX7" fmla="*/ 43302 w 157124"/>
                    <a:gd name="connsiteY7" fmla="*/ 14843 h 149395"/>
                    <a:gd name="connsiteX8" fmla="*/ 36912 w 157124"/>
                    <a:gd name="connsiteY8" fmla="*/ 67830 h 149395"/>
                    <a:gd name="connsiteX9" fmla="*/ 52887 w 157124"/>
                    <a:gd name="connsiteY9" fmla="*/ 104857 h 149395"/>
                    <a:gd name="connsiteX10" fmla="*/ 43941 w 157124"/>
                    <a:gd name="connsiteY10" fmla="*/ 129116 h 149395"/>
                    <a:gd name="connsiteX11" fmla="*/ 29883 w 157124"/>
                    <a:gd name="connsiteY11" fmla="*/ 131670 h 149395"/>
                    <a:gd name="connsiteX12" fmla="*/ 3685 w 157124"/>
                    <a:gd name="connsiteY12" fmla="*/ 137415 h 149395"/>
                    <a:gd name="connsiteX13" fmla="*/ 490 w 157124"/>
                    <a:gd name="connsiteY13" fmla="*/ 145714 h 149395"/>
                    <a:gd name="connsiteX14" fmla="*/ 8797 w 157124"/>
                    <a:gd name="connsiteY14" fmla="*/ 148906 h 149395"/>
                    <a:gd name="connsiteX15" fmla="*/ 9435 w 157124"/>
                    <a:gd name="connsiteY15" fmla="*/ 148268 h 149395"/>
                    <a:gd name="connsiteX16" fmla="*/ 31161 w 157124"/>
                    <a:gd name="connsiteY16" fmla="*/ 143799 h 149395"/>
                    <a:gd name="connsiteX17" fmla="*/ 49692 w 157124"/>
                    <a:gd name="connsiteY17" fmla="*/ 140607 h 149395"/>
                    <a:gd name="connsiteX18" fmla="*/ 64389 w 157124"/>
                    <a:gd name="connsiteY18" fmla="*/ 117625 h 149395"/>
                    <a:gd name="connsiteX19" fmla="*/ 63111 w 157124"/>
                    <a:gd name="connsiteY19" fmla="*/ 97834 h 149395"/>
                    <a:gd name="connsiteX20" fmla="*/ 48414 w 157124"/>
                    <a:gd name="connsiteY20" fmla="*/ 64638 h 149395"/>
                    <a:gd name="connsiteX21" fmla="*/ 52248 w 157124"/>
                    <a:gd name="connsiteY21" fmla="*/ 22503 h 149395"/>
                    <a:gd name="connsiteX22" fmla="*/ 77808 w 157124"/>
                    <a:gd name="connsiteY22" fmla="*/ 12289 h 149395"/>
                    <a:gd name="connsiteX23" fmla="*/ 78447 w 157124"/>
                    <a:gd name="connsiteY23" fmla="*/ 12289 h 149395"/>
                    <a:gd name="connsiteX24" fmla="*/ 104007 w 157124"/>
                    <a:gd name="connsiteY24" fmla="*/ 22503 h 149395"/>
                    <a:gd name="connsiteX25" fmla="*/ 107841 w 157124"/>
                    <a:gd name="connsiteY25" fmla="*/ 64638 h 149395"/>
                    <a:gd name="connsiteX26" fmla="*/ 93144 w 157124"/>
                    <a:gd name="connsiteY26" fmla="*/ 96558 h 149395"/>
                    <a:gd name="connsiteX27" fmla="*/ 91866 w 157124"/>
                    <a:gd name="connsiteY27" fmla="*/ 116348 h 149395"/>
                    <a:gd name="connsiteX28" fmla="*/ 106563 w 157124"/>
                    <a:gd name="connsiteY28" fmla="*/ 139969 h 149395"/>
                    <a:gd name="connsiteX29" fmla="*/ 125094 w 157124"/>
                    <a:gd name="connsiteY29" fmla="*/ 143161 h 149395"/>
                    <a:gd name="connsiteX30" fmla="*/ 146819 w 157124"/>
                    <a:gd name="connsiteY30" fmla="*/ 147630 h 149395"/>
                    <a:gd name="connsiteX31" fmla="*/ 155765 w 157124"/>
                    <a:gd name="connsiteY31" fmla="*/ 145076 h 149395"/>
                    <a:gd name="connsiteX32" fmla="*/ 153848 w 157124"/>
                    <a:gd name="connsiteY32" fmla="*/ 136777 h 149395"/>
                    <a:gd name="connsiteX33" fmla="*/ 153848 w 157124"/>
                    <a:gd name="connsiteY33" fmla="*/ 136777 h 1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7124" h="149395">
                      <a:moveTo>
                        <a:pt x="153848" y="136777"/>
                      </a:moveTo>
                      <a:cubicBezTo>
                        <a:pt x="145541" y="132946"/>
                        <a:pt x="136595" y="131031"/>
                        <a:pt x="127010" y="131031"/>
                      </a:cubicBezTo>
                      <a:cubicBezTo>
                        <a:pt x="122537" y="131031"/>
                        <a:pt x="117426" y="130393"/>
                        <a:pt x="112953" y="128478"/>
                      </a:cubicBezTo>
                      <a:cubicBezTo>
                        <a:pt x="107202" y="125286"/>
                        <a:pt x="102729" y="107410"/>
                        <a:pt x="104007" y="104218"/>
                      </a:cubicBezTo>
                      <a:cubicBezTo>
                        <a:pt x="111674" y="93366"/>
                        <a:pt x="117426" y="80598"/>
                        <a:pt x="120621" y="67830"/>
                      </a:cubicBezTo>
                      <a:cubicBezTo>
                        <a:pt x="126372" y="44847"/>
                        <a:pt x="123815" y="26334"/>
                        <a:pt x="114231" y="14843"/>
                      </a:cubicBezTo>
                      <a:cubicBezTo>
                        <a:pt x="94422" y="-4948"/>
                        <a:pt x="62472" y="-4948"/>
                        <a:pt x="43302" y="14843"/>
                      </a:cubicBezTo>
                      <a:cubicBezTo>
                        <a:pt x="43302" y="14843"/>
                        <a:pt x="43302" y="14843"/>
                        <a:pt x="43302" y="14843"/>
                      </a:cubicBezTo>
                      <a:cubicBezTo>
                        <a:pt x="33078" y="26972"/>
                        <a:pt x="31161" y="44847"/>
                        <a:pt x="36912" y="67830"/>
                      </a:cubicBezTo>
                      <a:cubicBezTo>
                        <a:pt x="40107" y="81236"/>
                        <a:pt x="45858" y="93366"/>
                        <a:pt x="52887" y="104857"/>
                      </a:cubicBezTo>
                      <a:cubicBezTo>
                        <a:pt x="54165" y="108687"/>
                        <a:pt x="49692" y="125924"/>
                        <a:pt x="43941" y="129116"/>
                      </a:cubicBezTo>
                      <a:cubicBezTo>
                        <a:pt x="39468" y="130393"/>
                        <a:pt x="34995" y="131031"/>
                        <a:pt x="29883" y="131670"/>
                      </a:cubicBezTo>
                      <a:cubicBezTo>
                        <a:pt x="20938" y="131670"/>
                        <a:pt x="11992" y="133585"/>
                        <a:pt x="3685" y="137415"/>
                      </a:cubicBezTo>
                      <a:cubicBezTo>
                        <a:pt x="490" y="138692"/>
                        <a:pt x="-788" y="142522"/>
                        <a:pt x="490" y="145714"/>
                      </a:cubicBezTo>
                      <a:cubicBezTo>
                        <a:pt x="1768" y="148906"/>
                        <a:pt x="5602" y="150183"/>
                        <a:pt x="8797" y="148906"/>
                      </a:cubicBezTo>
                      <a:cubicBezTo>
                        <a:pt x="8797" y="148906"/>
                        <a:pt x="9435" y="148906"/>
                        <a:pt x="9435" y="148268"/>
                      </a:cubicBezTo>
                      <a:cubicBezTo>
                        <a:pt x="16465" y="145714"/>
                        <a:pt x="23493" y="144438"/>
                        <a:pt x="31161" y="143799"/>
                      </a:cubicBezTo>
                      <a:cubicBezTo>
                        <a:pt x="37551" y="143799"/>
                        <a:pt x="43941" y="142522"/>
                        <a:pt x="49692" y="140607"/>
                      </a:cubicBezTo>
                      <a:cubicBezTo>
                        <a:pt x="59277" y="135500"/>
                        <a:pt x="63750" y="121455"/>
                        <a:pt x="64389" y="117625"/>
                      </a:cubicBezTo>
                      <a:cubicBezTo>
                        <a:pt x="65028" y="113794"/>
                        <a:pt x="66945" y="103580"/>
                        <a:pt x="63111" y="97834"/>
                      </a:cubicBezTo>
                      <a:cubicBezTo>
                        <a:pt x="56721" y="87620"/>
                        <a:pt x="51609" y="76767"/>
                        <a:pt x="48414" y="64638"/>
                      </a:cubicBezTo>
                      <a:cubicBezTo>
                        <a:pt x="43941" y="45486"/>
                        <a:pt x="45219" y="31441"/>
                        <a:pt x="52248" y="22503"/>
                      </a:cubicBezTo>
                      <a:cubicBezTo>
                        <a:pt x="58638" y="15481"/>
                        <a:pt x="68223" y="11651"/>
                        <a:pt x="77808" y="12289"/>
                      </a:cubicBezTo>
                      <a:lnTo>
                        <a:pt x="78447" y="12289"/>
                      </a:lnTo>
                      <a:cubicBezTo>
                        <a:pt x="88032" y="12289"/>
                        <a:pt x="97617" y="15481"/>
                        <a:pt x="104007" y="22503"/>
                      </a:cubicBezTo>
                      <a:cubicBezTo>
                        <a:pt x="111036" y="31441"/>
                        <a:pt x="112314" y="45486"/>
                        <a:pt x="107841" y="64638"/>
                      </a:cubicBezTo>
                      <a:cubicBezTo>
                        <a:pt x="104646" y="76129"/>
                        <a:pt x="100173" y="86982"/>
                        <a:pt x="93144" y="96558"/>
                      </a:cubicBezTo>
                      <a:cubicBezTo>
                        <a:pt x="89310" y="101665"/>
                        <a:pt x="90588" y="111241"/>
                        <a:pt x="91866" y="116348"/>
                      </a:cubicBezTo>
                      <a:cubicBezTo>
                        <a:pt x="93144" y="121455"/>
                        <a:pt x="96978" y="134862"/>
                        <a:pt x="106563" y="139969"/>
                      </a:cubicBezTo>
                      <a:cubicBezTo>
                        <a:pt x="112314" y="141884"/>
                        <a:pt x="118704" y="143161"/>
                        <a:pt x="125094" y="143161"/>
                      </a:cubicBezTo>
                      <a:cubicBezTo>
                        <a:pt x="132762" y="143161"/>
                        <a:pt x="139790" y="145076"/>
                        <a:pt x="146819" y="147630"/>
                      </a:cubicBezTo>
                      <a:cubicBezTo>
                        <a:pt x="150014" y="149545"/>
                        <a:pt x="153848" y="148268"/>
                        <a:pt x="155765" y="145076"/>
                      </a:cubicBezTo>
                      <a:cubicBezTo>
                        <a:pt x="158321" y="141884"/>
                        <a:pt x="157043" y="138054"/>
                        <a:pt x="153848" y="136777"/>
                      </a:cubicBezTo>
                      <a:lnTo>
                        <a:pt x="153848" y="136777"/>
                      </a:lnTo>
                      <a:close/>
                    </a:path>
                  </a:pathLst>
                </a:custGeom>
                <a:grpFill/>
                <a:ln w="6390" cap="flat">
                  <a:noFill/>
                  <a:prstDash val="solid"/>
                  <a:miter/>
                </a:ln>
              </p:spPr>
              <p:txBody>
                <a:bodyPr rtlCol="0" anchor="ctr"/>
                <a:lstStyle/>
                <a:p>
                  <a:endParaRPr lang="de-AT" noProof="0"/>
                </a:p>
              </p:txBody>
            </p:sp>
            <p:sp>
              <p:nvSpPr>
                <p:cNvPr id="237" name="Graphic 4">
                  <a:extLst>
                    <a:ext uri="{FF2B5EF4-FFF2-40B4-BE49-F238E27FC236}">
                      <a16:creationId xmlns:a16="http://schemas.microsoft.com/office/drawing/2014/main" id="{00ACBCA3-E044-A3A7-65F0-1FBEFD2B89DE}"/>
                    </a:ext>
                  </a:extLst>
                </p:cNvPr>
                <p:cNvSpPr/>
                <p:nvPr/>
              </p:nvSpPr>
              <p:spPr>
                <a:xfrm>
                  <a:off x="5915164" y="2493746"/>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de-AT" noProof="0"/>
                </a:p>
              </p:txBody>
            </p:sp>
            <p:sp>
              <p:nvSpPr>
                <p:cNvPr id="238" name="Graphic 4">
                  <a:extLst>
                    <a:ext uri="{FF2B5EF4-FFF2-40B4-BE49-F238E27FC236}">
                      <a16:creationId xmlns:a16="http://schemas.microsoft.com/office/drawing/2014/main" id="{4344A25E-F0DA-FA56-3E47-4983AEDE14BF}"/>
                    </a:ext>
                  </a:extLst>
                </p:cNvPr>
                <p:cNvSpPr/>
                <p:nvPr/>
              </p:nvSpPr>
              <p:spPr>
                <a:xfrm>
                  <a:off x="5915164" y="2525666"/>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de-AT" noProof="0"/>
                </a:p>
              </p:txBody>
            </p:sp>
            <p:sp>
              <p:nvSpPr>
                <p:cNvPr id="239" name="Graphic 4">
                  <a:extLst>
                    <a:ext uri="{FF2B5EF4-FFF2-40B4-BE49-F238E27FC236}">
                      <a16:creationId xmlns:a16="http://schemas.microsoft.com/office/drawing/2014/main" id="{80EF7CBE-ED0A-5B0C-3A1D-7F5D33DC6EB6}"/>
                    </a:ext>
                  </a:extLst>
                </p:cNvPr>
                <p:cNvSpPr/>
                <p:nvPr/>
              </p:nvSpPr>
              <p:spPr>
                <a:xfrm>
                  <a:off x="5915164" y="2557585"/>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de-AT" noProof="0"/>
                </a:p>
              </p:txBody>
            </p:sp>
          </p:grpSp>
        </p:grpSp>
        <p:sp>
          <p:nvSpPr>
            <p:cNvPr id="241" name="TextBox 240">
              <a:extLst>
                <a:ext uri="{FF2B5EF4-FFF2-40B4-BE49-F238E27FC236}">
                  <a16:creationId xmlns:a16="http://schemas.microsoft.com/office/drawing/2014/main" id="{95DABD91-08FC-62CE-55D7-5DB0C78E222F}"/>
                </a:ext>
              </a:extLst>
            </p:cNvPr>
            <p:cNvSpPr txBox="1">
              <a:spLocks/>
            </p:cNvSpPr>
            <p:nvPr/>
          </p:nvSpPr>
          <p:spPr>
            <a:xfrm>
              <a:off x="4364559" y="1996600"/>
              <a:ext cx="1286873"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914400" fontAlgn="auto" latinLnBrk="0" hangingPunct="0">
                <a:lnSpc>
                  <a:spcPct val="100000"/>
                </a:lnSpc>
                <a:spcBef>
                  <a:spcPts val="0"/>
                </a:spcBef>
                <a:spcAft>
                  <a:spcPts val="0"/>
                </a:spcAft>
                <a:buClrTx/>
                <a:buSzTx/>
                <a:buFontTx/>
                <a:buNone/>
                <a:tabLst/>
              </a:pPr>
              <a:r>
                <a:rPr kumimoji="0" lang="de-AT" sz="1400" b="1" i="0" u="none" strike="noStrike" cap="none" spc="0" normalizeH="0" baseline="0" noProof="0">
                  <a:ln>
                    <a:noFill/>
                  </a:ln>
                  <a:solidFill>
                    <a:schemeClr val="bg2">
                      <a:lumMod val="100000"/>
                    </a:schemeClr>
                  </a:solidFill>
                  <a:effectLst/>
                  <a:uFillTx/>
                  <a:latin typeface="Aptos" panose="020B0004020202020204" pitchFamily="34" charset="0"/>
                  <a:ea typeface="Open Sans Light"/>
                  <a:cs typeface="Open Sans Light"/>
                  <a:sym typeface="Open Sans Light"/>
                </a:rPr>
                <a:t>Vertraulichkeit</a:t>
              </a:r>
            </a:p>
          </p:txBody>
        </p:sp>
        <p:sp>
          <p:nvSpPr>
            <p:cNvPr id="242" name="TextBox 241">
              <a:extLst>
                <a:ext uri="{FF2B5EF4-FFF2-40B4-BE49-F238E27FC236}">
                  <a16:creationId xmlns:a16="http://schemas.microsoft.com/office/drawing/2014/main" id="{27D8FAE8-6826-73D6-ED41-7B6AADC8A8A0}"/>
                </a:ext>
              </a:extLst>
            </p:cNvPr>
            <p:cNvSpPr txBox="1">
              <a:spLocks/>
            </p:cNvSpPr>
            <p:nvPr/>
          </p:nvSpPr>
          <p:spPr>
            <a:xfrm>
              <a:off x="5432997" y="4007008"/>
              <a:ext cx="1286873"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914400" fontAlgn="auto" latinLnBrk="0" hangingPunct="0">
                <a:lnSpc>
                  <a:spcPct val="100000"/>
                </a:lnSpc>
                <a:spcBef>
                  <a:spcPts val="0"/>
                </a:spcBef>
                <a:spcAft>
                  <a:spcPts val="0"/>
                </a:spcAft>
                <a:buClrTx/>
                <a:buSzTx/>
                <a:buFontTx/>
                <a:buNone/>
                <a:tabLst/>
              </a:pPr>
              <a:r>
                <a:rPr kumimoji="0" lang="de-AT" sz="1400" b="1" i="0" u="none" strike="noStrike" cap="none" spc="0" normalizeH="0" baseline="0" noProof="0">
                  <a:ln>
                    <a:noFill/>
                  </a:ln>
                  <a:solidFill>
                    <a:schemeClr val="bg2">
                      <a:lumMod val="100000"/>
                    </a:schemeClr>
                  </a:solidFill>
                  <a:effectLst/>
                  <a:uFillTx/>
                  <a:latin typeface="Aptos" panose="020B0004020202020204" pitchFamily="34" charset="0"/>
                  <a:ea typeface="Open Sans Light"/>
                  <a:cs typeface="Open Sans Light"/>
                  <a:sym typeface="Open Sans Light"/>
                </a:rPr>
                <a:t>Verfügbarkeit</a:t>
              </a:r>
            </a:p>
          </p:txBody>
        </p:sp>
        <p:sp>
          <p:nvSpPr>
            <p:cNvPr id="243" name="TextBox 242">
              <a:extLst>
                <a:ext uri="{FF2B5EF4-FFF2-40B4-BE49-F238E27FC236}">
                  <a16:creationId xmlns:a16="http://schemas.microsoft.com/office/drawing/2014/main" id="{DE3DFB12-9E2D-9BBB-7930-458CAFEC1DC4}"/>
                </a:ext>
              </a:extLst>
            </p:cNvPr>
            <p:cNvSpPr txBox="1">
              <a:spLocks/>
            </p:cNvSpPr>
            <p:nvPr/>
          </p:nvSpPr>
          <p:spPr>
            <a:xfrm>
              <a:off x="792183" y="4011462"/>
              <a:ext cx="1286873"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r" defTabSz="914400" fontAlgn="auto" latinLnBrk="0" hangingPunct="0">
                <a:lnSpc>
                  <a:spcPct val="100000"/>
                </a:lnSpc>
                <a:spcBef>
                  <a:spcPts val="0"/>
                </a:spcBef>
                <a:spcAft>
                  <a:spcPts val="0"/>
                </a:spcAft>
                <a:buClrTx/>
                <a:buSzTx/>
                <a:buFontTx/>
                <a:buNone/>
                <a:tabLst/>
              </a:pPr>
              <a:r>
                <a:rPr kumimoji="0" lang="de-AT" sz="1400" b="1" i="0" u="none" strike="noStrike" cap="none" spc="0" normalizeH="0" baseline="0" noProof="0">
                  <a:ln>
                    <a:noFill/>
                  </a:ln>
                  <a:solidFill>
                    <a:schemeClr val="bg2">
                      <a:lumMod val="100000"/>
                    </a:schemeClr>
                  </a:solidFill>
                  <a:effectLst/>
                  <a:uFillTx/>
                  <a:latin typeface="Aptos" panose="020B0004020202020204" pitchFamily="34" charset="0"/>
                  <a:ea typeface="Open Sans Light"/>
                  <a:cs typeface="Open Sans Light"/>
                  <a:sym typeface="Open Sans Light"/>
                </a:rPr>
                <a:t>Integrität</a:t>
              </a:r>
            </a:p>
          </p:txBody>
        </p:sp>
        <p:cxnSp>
          <p:nvCxnSpPr>
            <p:cNvPr id="249" name="Straight Connector 248">
              <a:extLst>
                <a:ext uri="{FF2B5EF4-FFF2-40B4-BE49-F238E27FC236}">
                  <a16:creationId xmlns:a16="http://schemas.microsoft.com/office/drawing/2014/main" id="{566FA2EE-3265-EBC6-E4F9-0966281D5C0B}"/>
                </a:ext>
              </a:extLst>
            </p:cNvPr>
            <p:cNvCxnSpPr>
              <a:cxnSpLocks/>
            </p:cNvCxnSpPr>
            <p:nvPr/>
          </p:nvCxnSpPr>
          <p:spPr>
            <a:xfrm flipH="1">
              <a:off x="4312825" y="2215778"/>
              <a:ext cx="938444" cy="0"/>
            </a:xfrm>
            <a:prstGeom prst="line">
              <a:avLst/>
            </a:prstGeom>
            <a:noFill/>
            <a:ln w="3175"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52" name="Straight Connector 251">
              <a:extLst>
                <a:ext uri="{FF2B5EF4-FFF2-40B4-BE49-F238E27FC236}">
                  <a16:creationId xmlns:a16="http://schemas.microsoft.com/office/drawing/2014/main" id="{72F95207-1D36-F2A3-415D-7F208BA4A686}"/>
                </a:ext>
              </a:extLst>
            </p:cNvPr>
            <p:cNvCxnSpPr>
              <a:cxnSpLocks/>
            </p:cNvCxnSpPr>
            <p:nvPr/>
          </p:nvCxnSpPr>
          <p:spPr>
            <a:xfrm flipH="1">
              <a:off x="5339585" y="4241676"/>
              <a:ext cx="705326" cy="0"/>
            </a:xfrm>
            <a:prstGeom prst="line">
              <a:avLst/>
            </a:prstGeom>
            <a:noFill/>
            <a:ln w="3175" cap="flat">
              <a:solidFill>
                <a:schemeClr val="accent4"/>
              </a:solidFill>
              <a:prstDash val="solid"/>
              <a:round/>
            </a:ln>
            <a:effectLst/>
            <a:sp3d/>
          </p:spPr>
          <p:style>
            <a:lnRef idx="0">
              <a:scrgbClr r="0" g="0" b="0"/>
            </a:lnRef>
            <a:fillRef idx="0">
              <a:scrgbClr r="0" g="0" b="0"/>
            </a:fillRef>
            <a:effectRef idx="0">
              <a:scrgbClr r="0" g="0" b="0"/>
            </a:effectRef>
            <a:fontRef idx="none"/>
          </p:style>
        </p:cxnSp>
        <p:cxnSp>
          <p:nvCxnSpPr>
            <p:cNvPr id="258" name="Straight Connector 257">
              <a:extLst>
                <a:ext uri="{FF2B5EF4-FFF2-40B4-BE49-F238E27FC236}">
                  <a16:creationId xmlns:a16="http://schemas.microsoft.com/office/drawing/2014/main" id="{9DCECF81-D21F-19FB-8083-39AAAC191B8A}"/>
                </a:ext>
              </a:extLst>
            </p:cNvPr>
            <p:cNvCxnSpPr>
              <a:cxnSpLocks/>
            </p:cNvCxnSpPr>
            <p:nvPr/>
          </p:nvCxnSpPr>
          <p:spPr>
            <a:xfrm flipH="1">
              <a:off x="1435619" y="4241676"/>
              <a:ext cx="705326" cy="0"/>
            </a:xfrm>
            <a:prstGeom prst="line">
              <a:avLst/>
            </a:prstGeom>
            <a:noFill/>
            <a:ln w="3175" cap="flat">
              <a:solidFill>
                <a:schemeClr val="accent3"/>
              </a:solidFill>
              <a:prstDash val="solid"/>
              <a:round/>
            </a:ln>
            <a:effectLst/>
            <a:sp3d/>
          </p:spPr>
          <p:style>
            <a:lnRef idx="0">
              <a:scrgbClr r="0" g="0" b="0"/>
            </a:lnRef>
            <a:fillRef idx="0">
              <a:scrgbClr r="0" g="0" b="0"/>
            </a:fillRef>
            <a:effectRef idx="0">
              <a:scrgbClr r="0" g="0" b="0"/>
            </a:effectRef>
            <a:fontRef idx="none"/>
          </p:style>
        </p:cxnSp>
        <p:sp>
          <p:nvSpPr>
            <p:cNvPr id="264" name="Text Placeholder 3">
              <a:extLst>
                <a:ext uri="{FF2B5EF4-FFF2-40B4-BE49-F238E27FC236}">
                  <a16:creationId xmlns:a16="http://schemas.microsoft.com/office/drawing/2014/main" id="{E3BEBA82-9939-185C-1A76-27BF508F4170}"/>
                </a:ext>
              </a:extLst>
            </p:cNvPr>
            <p:cNvSpPr txBox="1">
              <a:spLocks/>
            </p:cNvSpPr>
            <p:nvPr/>
          </p:nvSpPr>
          <p:spPr>
            <a:xfrm>
              <a:off x="4359492" y="2260439"/>
              <a:ext cx="1625600" cy="517768"/>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20000"/>
                </a:lnSpc>
                <a:spcBef>
                  <a:spcPct val="0"/>
                </a:spcBef>
                <a:spcAft>
                  <a:spcPts val="1000"/>
                </a:spcAft>
                <a:buSzTx/>
                <a:defRPr/>
              </a:pPr>
              <a:r>
                <a:rPr lang="de-AT" noProof="0">
                  <a:latin typeface="Aptos" panose="020B0004020202020204" pitchFamily="34" charset="0"/>
                  <a:ea typeface="Open Sans Light" panose="020B0306030504020204" pitchFamily="34" charset="0"/>
                  <a:cs typeface="Open Sans Light" panose="020B0306030504020204" pitchFamily="34" charset="0"/>
                </a:rPr>
                <a:t>OT – niedrige Priorität</a:t>
              </a:r>
              <a:br>
                <a:rPr lang="de-AT" noProof="0">
                  <a:latin typeface="Aptos" panose="020B0004020202020204" pitchFamily="34" charset="0"/>
                  <a:ea typeface="Open Sans Light" panose="020B0306030504020204" pitchFamily="34" charset="0"/>
                  <a:cs typeface="Open Sans Light" panose="020B0306030504020204" pitchFamily="34" charset="0"/>
                </a:rPr>
              </a:br>
              <a:r>
                <a:rPr lang="de-AT" b="1" noProof="0">
                  <a:latin typeface="Aptos" panose="020B0004020202020204" pitchFamily="34" charset="0"/>
                  <a:ea typeface="Open Sans Light" panose="020B0306030504020204" pitchFamily="34" charset="0"/>
                  <a:cs typeface="Open Sans Light" panose="020B0306030504020204" pitchFamily="34" charset="0"/>
                </a:rPr>
                <a:t>IT – hohe Priorität</a:t>
              </a:r>
            </a:p>
            <a:p>
              <a:endParaRPr lang="de-AT" noProof="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8" name="Text Placeholder 3">
              <a:extLst>
                <a:ext uri="{FF2B5EF4-FFF2-40B4-BE49-F238E27FC236}">
                  <a16:creationId xmlns:a16="http://schemas.microsoft.com/office/drawing/2014/main" id="{C74B389E-23AA-B446-2AD6-CB63134F6D31}"/>
                </a:ext>
              </a:extLst>
            </p:cNvPr>
            <p:cNvSpPr txBox="1">
              <a:spLocks/>
            </p:cNvSpPr>
            <p:nvPr/>
          </p:nvSpPr>
          <p:spPr>
            <a:xfrm>
              <a:off x="5406671" y="4301618"/>
              <a:ext cx="1625600" cy="517768"/>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20000"/>
                </a:lnSpc>
                <a:spcBef>
                  <a:spcPct val="0"/>
                </a:spcBef>
                <a:spcAft>
                  <a:spcPts val="1000"/>
                </a:spcAft>
                <a:buSzTx/>
                <a:defRPr/>
              </a:pPr>
              <a:r>
                <a:rPr lang="de-AT" b="1" noProof="0">
                  <a:latin typeface="Aptos" panose="020B0004020202020204" pitchFamily="34" charset="0"/>
                  <a:ea typeface="Open Sans Light" panose="020B0306030504020204" pitchFamily="34" charset="0"/>
                  <a:cs typeface="Open Sans Light" panose="020B0306030504020204" pitchFamily="34" charset="0"/>
                </a:rPr>
                <a:t>OT – hohe Priorität</a:t>
              </a:r>
              <a:br>
                <a:rPr lang="de-AT" noProof="0">
                  <a:latin typeface="Aptos" panose="020B0004020202020204" pitchFamily="34" charset="0"/>
                  <a:ea typeface="Open Sans Light" panose="020B0306030504020204" pitchFamily="34" charset="0"/>
                  <a:cs typeface="Open Sans Light" panose="020B0306030504020204" pitchFamily="34" charset="0"/>
                </a:rPr>
              </a:br>
              <a:r>
                <a:rPr lang="de-AT" noProof="0">
                  <a:latin typeface="Aptos" panose="020B0004020202020204" pitchFamily="34" charset="0"/>
                  <a:ea typeface="Open Sans Light" panose="020B0306030504020204" pitchFamily="34" charset="0"/>
                  <a:cs typeface="Open Sans Light" panose="020B0306030504020204" pitchFamily="34" charset="0"/>
                </a:rPr>
                <a:t>IT – niedrige Priorität</a:t>
              </a:r>
            </a:p>
            <a:p>
              <a:endParaRPr lang="de-AT" noProof="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9" name="Text Placeholder 3">
              <a:extLst>
                <a:ext uri="{FF2B5EF4-FFF2-40B4-BE49-F238E27FC236}">
                  <a16:creationId xmlns:a16="http://schemas.microsoft.com/office/drawing/2014/main" id="{D0C59894-2F13-4398-F4C5-FEE563F8233A}"/>
                </a:ext>
              </a:extLst>
            </p:cNvPr>
            <p:cNvSpPr txBox="1">
              <a:spLocks/>
            </p:cNvSpPr>
            <p:nvPr/>
          </p:nvSpPr>
          <p:spPr>
            <a:xfrm>
              <a:off x="641117" y="4301618"/>
              <a:ext cx="1625600" cy="517768"/>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20000"/>
                </a:lnSpc>
                <a:spcBef>
                  <a:spcPct val="0"/>
                </a:spcBef>
                <a:spcAft>
                  <a:spcPts val="1000"/>
                </a:spcAft>
                <a:buSzTx/>
                <a:defRPr/>
              </a:pPr>
              <a:r>
                <a:rPr lang="de-AT" noProof="0">
                  <a:latin typeface="Aptos" panose="020B0004020202020204" pitchFamily="34" charset="0"/>
                  <a:ea typeface="Open Sans Light" panose="020B0306030504020204" pitchFamily="34" charset="0"/>
                  <a:cs typeface="Open Sans Light" panose="020B0306030504020204" pitchFamily="34" charset="0"/>
                </a:rPr>
                <a:t>OT – mittlere Priorität</a:t>
              </a:r>
              <a:br>
                <a:rPr lang="de-AT" noProof="0">
                  <a:latin typeface="Aptos" panose="020B0004020202020204" pitchFamily="34" charset="0"/>
                  <a:ea typeface="Open Sans Light" panose="020B0306030504020204" pitchFamily="34" charset="0"/>
                  <a:cs typeface="Open Sans Light" panose="020B0306030504020204" pitchFamily="34" charset="0"/>
                </a:rPr>
              </a:br>
              <a:r>
                <a:rPr lang="de-AT" noProof="0">
                  <a:latin typeface="Aptos" panose="020B0004020202020204" pitchFamily="34" charset="0"/>
                  <a:ea typeface="Open Sans Light" panose="020B0306030504020204" pitchFamily="34" charset="0"/>
                  <a:cs typeface="Open Sans Light" panose="020B0306030504020204" pitchFamily="34" charset="0"/>
                </a:rPr>
                <a:t>IT – mittlere Priorität</a:t>
              </a:r>
              <a:endParaRPr lang="de-AT" noProof="0">
                <a:solidFill>
                  <a:schemeClr val="tx2"/>
                </a:solidFill>
                <a:latin typeface="Aptos" panose="020B0004020202020204" pitchFamily="34" charset="0"/>
                <a:ea typeface="Open Sans Light" panose="020B0306030504020204" pitchFamily="34" charset="0"/>
                <a:cs typeface="Open Sans Light" panose="020B0306030504020204" pitchFamily="34" charset="0"/>
              </a:endParaRPr>
            </a:p>
          </p:txBody>
        </p:sp>
        <p:sp>
          <p:nvSpPr>
            <p:cNvPr id="53" name="Oval 52">
              <a:extLst>
                <a:ext uri="{FF2B5EF4-FFF2-40B4-BE49-F238E27FC236}">
                  <a16:creationId xmlns:a16="http://schemas.microsoft.com/office/drawing/2014/main" id="{656AFFB4-1E28-1147-AFAE-43A2F9BCE0EA}"/>
                </a:ext>
              </a:extLst>
            </p:cNvPr>
            <p:cNvSpPr>
              <a:spLocks/>
            </p:cNvSpPr>
            <p:nvPr/>
          </p:nvSpPr>
          <p:spPr>
            <a:xfrm>
              <a:off x="3169529" y="2682494"/>
              <a:ext cx="1074163" cy="1074163"/>
            </a:xfrm>
            <a:prstGeom prst="ellipse">
              <a:avLst/>
            </a:prstGeom>
            <a:solidFill>
              <a:schemeClr val="bg1"/>
            </a:solidFill>
            <a:ln w="3175" cap="flat">
              <a:solidFill>
                <a:schemeClr val="bg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fontAlgn="auto" latinLnBrk="0" hangingPunct="0">
                <a:lnSpc>
                  <a:spcPct val="100000"/>
                </a:lnSpc>
                <a:spcBef>
                  <a:spcPts val="0"/>
                </a:spcBef>
                <a:spcAft>
                  <a:spcPts val="0"/>
                </a:spcAft>
                <a:buClrTx/>
                <a:buSzTx/>
                <a:buFontTx/>
                <a:buNone/>
                <a:tabLst/>
              </a:pPr>
              <a:endParaRPr kumimoji="0" lang="de-AT" sz="1800" b="0" i="0" u="none" strike="noStrike" cap="none" spc="0" normalizeH="0" baseline="0" noProof="0">
                <a:ln>
                  <a:noFill/>
                </a:ln>
                <a:solidFill>
                  <a:srgbClr val="000000"/>
                </a:solidFill>
                <a:effectLst/>
                <a:uFillTx/>
                <a:latin typeface="Open Sans"/>
                <a:ea typeface="Open Sans"/>
                <a:cs typeface="Open Sans"/>
                <a:sym typeface="Open Sans"/>
              </a:endParaRPr>
            </a:p>
          </p:txBody>
        </p:sp>
        <p:sp>
          <p:nvSpPr>
            <p:cNvPr id="49" name="Oval 48">
              <a:extLst>
                <a:ext uri="{FF2B5EF4-FFF2-40B4-BE49-F238E27FC236}">
                  <a16:creationId xmlns:a16="http://schemas.microsoft.com/office/drawing/2014/main" id="{48A49625-5228-32F7-02F5-395850486FC2}"/>
                </a:ext>
              </a:extLst>
            </p:cNvPr>
            <p:cNvSpPr>
              <a:spLocks/>
            </p:cNvSpPr>
            <p:nvPr/>
          </p:nvSpPr>
          <p:spPr>
            <a:xfrm>
              <a:off x="3263922" y="2775692"/>
              <a:ext cx="900000" cy="900000"/>
            </a:xfrm>
            <a:prstGeom prst="ellipse">
              <a:avLst/>
            </a:prstGeom>
            <a:solidFill>
              <a:schemeClr val="accent2"/>
            </a:solidFill>
            <a:ln w="25400" cap="flat">
              <a:solidFill>
                <a:schemeClr val="accent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noAutofit/>
            </a:bodyPr>
            <a:lstStyle/>
            <a:p>
              <a:pPr marL="0" marR="0" indent="0" algn="ctr" defTabSz="914400" fontAlgn="auto" latinLnBrk="0" hangingPunct="0">
                <a:lnSpc>
                  <a:spcPct val="100000"/>
                </a:lnSpc>
                <a:spcBef>
                  <a:spcPts val="0"/>
                </a:spcBef>
                <a:spcAft>
                  <a:spcPts val="0"/>
                </a:spcAft>
                <a:buClrTx/>
                <a:buSzTx/>
                <a:buFontTx/>
                <a:buNone/>
                <a:tabLst/>
              </a:pPr>
              <a:r>
                <a:rPr kumimoji="0" lang="de-AT" sz="1200" b="1" i="0" u="none" strike="noStrike" cap="none" spc="0" normalizeH="0" baseline="0" noProof="0">
                  <a:ln>
                    <a:noFill/>
                  </a:ln>
                  <a:solidFill>
                    <a:schemeClr val="bg1"/>
                  </a:solidFill>
                  <a:effectLst/>
                  <a:uFillTx/>
                  <a:latin typeface="Open Sans"/>
                  <a:ea typeface="Open Sans"/>
                  <a:cs typeface="Open Sans"/>
                  <a:sym typeface="Open Sans"/>
                </a:rPr>
                <a:t>CIA </a:t>
              </a:r>
              <a:r>
                <a:rPr kumimoji="0" lang="de-AT" sz="1000" b="1" i="0" u="none" strike="noStrike" cap="none" spc="0" normalizeH="0" baseline="0" noProof="0">
                  <a:ln>
                    <a:noFill/>
                  </a:ln>
                  <a:solidFill>
                    <a:schemeClr val="bg1"/>
                  </a:solidFill>
                  <a:effectLst/>
                  <a:uFillTx/>
                  <a:latin typeface="Open Sans"/>
                  <a:ea typeface="Open Sans"/>
                  <a:cs typeface="Open Sans"/>
                  <a:sym typeface="Open Sans"/>
                </a:rPr>
                <a:t>TRIADE</a:t>
              </a:r>
            </a:p>
          </p:txBody>
        </p:sp>
      </p:grpSp>
    </p:spTree>
    <p:extLst>
      <p:ext uri="{BB962C8B-B14F-4D97-AF65-F5344CB8AC3E}">
        <p14:creationId xmlns:p14="http://schemas.microsoft.com/office/powerpoint/2010/main" val="38698617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think-cell data - do not delete" hidden="1">
            <a:extLst>
              <a:ext uri="{FF2B5EF4-FFF2-40B4-BE49-F238E27FC236}">
                <a16:creationId xmlns:a16="http://schemas.microsoft.com/office/drawing/2014/main" id="{46423C75-64DA-1B3C-9E55-C051AA816F2D}"/>
              </a:ext>
            </a:extLst>
          </p:cNvPr>
          <p:cNvGraphicFramePr>
            <a:graphicFrameLocks noChangeAspect="1"/>
          </p:cNvGraphicFramePr>
          <p:nvPr>
            <p:custDataLst>
              <p:tags r:id="rId1"/>
            </p:custDataLst>
            <p:extLst>
              <p:ext uri="{D42A27DB-BD31-4B8C-83A1-F6EECF244321}">
                <p14:modId xmlns:p14="http://schemas.microsoft.com/office/powerpoint/2010/main" val="3965477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54" name="think-cell data - do not delete" hidden="1">
                        <a:extLst>
                          <a:ext uri="{FF2B5EF4-FFF2-40B4-BE49-F238E27FC236}">
                            <a16:creationId xmlns:a16="http://schemas.microsoft.com/office/drawing/2014/main" id="{46423C75-64DA-1B3C-9E55-C051AA816F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5CBB231-A8EA-4EEF-3682-A7073BFF76FB}"/>
              </a:ext>
            </a:extLst>
          </p:cNvPr>
          <p:cNvSpPr>
            <a:spLocks noGrp="1"/>
          </p:cNvSpPr>
          <p:nvPr>
            <p:ph type="body" sz="quarter" idx="13"/>
          </p:nvPr>
        </p:nvSpPr>
        <p:spPr/>
        <p:txBody>
          <a:bodyPr/>
          <a:lstStyle/>
          <a:p>
            <a:r>
              <a:rPr lang="de-DE" dirty="0">
                <a:solidFill>
                  <a:schemeClr val="tx2">
                    <a:lumMod val="50000"/>
                  </a:schemeClr>
                </a:solidFill>
              </a:rPr>
              <a:t>Heterogene Netzwerke und Legacy-Systeme bilden das Fundament der OT-Schwachstellen</a:t>
            </a:r>
          </a:p>
        </p:txBody>
      </p:sp>
      <p:sp>
        <p:nvSpPr>
          <p:cNvPr id="4" name="Title 3">
            <a:extLst>
              <a:ext uri="{FF2B5EF4-FFF2-40B4-BE49-F238E27FC236}">
                <a16:creationId xmlns:a16="http://schemas.microsoft.com/office/drawing/2014/main" id="{2EE64FEB-A99E-C124-DB60-0792CAD251D8}"/>
              </a:ext>
            </a:extLst>
          </p:cNvPr>
          <p:cNvSpPr>
            <a:spLocks noGrp="1"/>
          </p:cNvSpPr>
          <p:nvPr>
            <p:ph type="title"/>
          </p:nvPr>
        </p:nvSpPr>
        <p:spPr/>
        <p:txBody>
          <a:bodyPr vert="horz"/>
          <a:lstStyle/>
          <a:p>
            <a:r>
              <a:rPr lang="en-US" dirty="0" err="1"/>
              <a:t>Größte</a:t>
            </a:r>
            <a:r>
              <a:rPr lang="en-US" dirty="0"/>
              <a:t> OT-Security </a:t>
            </a:r>
            <a:r>
              <a:rPr lang="en-US" dirty="0" err="1"/>
              <a:t>Herausforderungen</a:t>
            </a:r>
            <a:endParaRPr lang="en-US" dirty="0"/>
          </a:p>
        </p:txBody>
      </p:sp>
      <p:sp>
        <p:nvSpPr>
          <p:cNvPr id="184" name="Oval 183">
            <a:extLst>
              <a:ext uri="{FF2B5EF4-FFF2-40B4-BE49-F238E27FC236}">
                <a16:creationId xmlns:a16="http://schemas.microsoft.com/office/drawing/2014/main" id="{BB55A881-0396-CC35-61BA-DB404283E384}"/>
              </a:ext>
            </a:extLst>
          </p:cNvPr>
          <p:cNvSpPr/>
          <p:nvPr/>
        </p:nvSpPr>
        <p:spPr>
          <a:xfrm rot="19880991">
            <a:off x="3329902" y="1363811"/>
            <a:ext cx="782149" cy="818745"/>
          </a:xfrm>
          <a:prstGeom prst="ellipse">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Open Sans"/>
              <a:ea typeface="Open Sans"/>
              <a:cs typeface="Open Sans"/>
              <a:sym typeface="Open Sans"/>
            </a:endParaRPr>
          </a:p>
        </p:txBody>
      </p:sp>
      <p:sp>
        <p:nvSpPr>
          <p:cNvPr id="5" name="TextBox 4">
            <a:extLst>
              <a:ext uri="{FF2B5EF4-FFF2-40B4-BE49-F238E27FC236}">
                <a16:creationId xmlns:a16="http://schemas.microsoft.com/office/drawing/2014/main" id="{0A534085-B57E-5D18-BA9D-5D6937504BD7}"/>
              </a:ext>
            </a:extLst>
          </p:cNvPr>
          <p:cNvSpPr txBox="1"/>
          <p:nvPr/>
        </p:nvSpPr>
        <p:spPr bwMode="gray">
          <a:xfrm>
            <a:off x="7658850" y="1513259"/>
            <a:ext cx="4116590" cy="934230"/>
          </a:xfrm>
          <a:prstGeom prst="rect">
            <a:avLst/>
          </a:prstGeom>
        </p:spPr>
        <p:txBody>
          <a:bodyPr wrap="square" lIns="0" rIns="0" rtlCol="0" anchor="t" anchorCtr="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Geographisch</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verteilte</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Systeme</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srgbClr val="000000"/>
                </a:solidFill>
                <a:effectLst/>
                <a:uLnTx/>
                <a:uFillTx/>
                <a:latin typeface="Aptos" panose="020B0004020202020204" pitchFamily="34" charset="0"/>
                <a:ea typeface="Open Sans Light" panose="020B0306030504020204" pitchFamily="34" charset="0"/>
                <a:cs typeface="Open Sans Light" panose="020B0306030504020204" pitchFamily="34" charset="0"/>
              </a:rPr>
              <a:t>OT-Umgebungen erstrecken sich über mehrere Standorte (z. B. Fabriken, Energienetze, Pipelines), was die Sicherheit über verstreute Anlagen hinweg komplex macht.</a:t>
            </a: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97748845-E9DC-EAA6-DC04-1385F1943722}"/>
              </a:ext>
            </a:extLst>
          </p:cNvPr>
          <p:cNvSpPr/>
          <p:nvPr/>
        </p:nvSpPr>
        <p:spPr>
          <a:xfrm>
            <a:off x="1508121" y="1552541"/>
            <a:ext cx="4590372" cy="839461"/>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Legacy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Systeme</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mp;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lange</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Lebenszyklen</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OT-Geräte wurden vor Jahrzehnten ohne integrierte Sicherheitsfunktionen entwickelt, was die Möglichkeit einschränkt, moderne Sicherheitsmaßnahmen anzuwenden, ohne den Betrieb zu stören.</a:t>
            </a: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cxnSp>
        <p:nvCxnSpPr>
          <p:cNvPr id="8" name="Straight Connector 7">
            <a:extLst>
              <a:ext uri="{FF2B5EF4-FFF2-40B4-BE49-F238E27FC236}">
                <a16:creationId xmlns:a16="http://schemas.microsoft.com/office/drawing/2014/main" id="{92C10439-5F9A-AF65-3441-7831E8EA8043}"/>
              </a:ext>
            </a:extLst>
          </p:cNvPr>
          <p:cNvCxnSpPr>
            <a:cxnSpLocks/>
          </p:cNvCxnSpPr>
          <p:nvPr/>
        </p:nvCxnSpPr>
        <p:spPr>
          <a:xfrm>
            <a:off x="1220081" y="1593138"/>
            <a:ext cx="0" cy="73453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086E821-FE35-1839-4E71-54CD4F86974A}"/>
              </a:ext>
            </a:extLst>
          </p:cNvPr>
          <p:cNvSpPr>
            <a:spLocks/>
          </p:cNvSpPr>
          <p:nvPr/>
        </p:nvSpPr>
        <p:spPr>
          <a:xfrm>
            <a:off x="1462805" y="2585008"/>
            <a:ext cx="4782825" cy="841897"/>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Sensitive</a:t>
            </a:r>
            <a:r>
              <a:rPr lang="en-US" sz="1200" b="1">
                <a:solidFill>
                  <a:prstClr val="black"/>
                </a:solidFill>
                <a:latin typeface="Aptos" panose="020B0004020202020204" pitchFamily="34" charset="0"/>
                <a:ea typeface="Open Sans Light" panose="020B0306030504020204" pitchFamily="34" charset="0"/>
                <a:cs typeface="Open Sans Light" panose="020B0306030504020204" pitchFamily="34" charset="0"/>
              </a:rPr>
              <a:t>s</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mp;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spezialisiertes</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Equipment</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Geräte sind eher auf Zuverlässigkeit und Leistung als auf Sicherheit optimiert, wobei herkömmliche IT-Sicherheitsmaßnahmen (z. B. Verschlüsselung) den Betrieb stören können.</a:t>
            </a: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cxnSp>
        <p:nvCxnSpPr>
          <p:cNvPr id="10" name="Straight Connector 9">
            <a:extLst>
              <a:ext uri="{FF2B5EF4-FFF2-40B4-BE49-F238E27FC236}">
                <a16:creationId xmlns:a16="http://schemas.microsoft.com/office/drawing/2014/main" id="{FC3ABB90-C705-7F5D-8DE4-A81F38AFE3E0}"/>
              </a:ext>
            </a:extLst>
          </p:cNvPr>
          <p:cNvCxnSpPr/>
          <p:nvPr/>
        </p:nvCxnSpPr>
        <p:spPr>
          <a:xfrm>
            <a:off x="1220081" y="2624653"/>
            <a:ext cx="0" cy="73453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3DCA956-7677-1F01-FE9E-C225BADE0E10}"/>
              </a:ext>
            </a:extLst>
          </p:cNvPr>
          <p:cNvSpPr>
            <a:spLocks/>
          </p:cNvSpPr>
          <p:nvPr/>
        </p:nvSpPr>
        <p:spPr>
          <a:xfrm>
            <a:off x="1465225" y="3609967"/>
            <a:ext cx="4618701" cy="841897"/>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Flache</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Netzwerkarchitektur</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OT-Netzwerke weisen keine Segmentierung auf, wodurch sich Bedrohungen leichter ausbreiten können und die Implementierung einer Netzwerksegmentierung aufgrund veralteter Protokolle schwierig ist.</a:t>
            </a:r>
            <a:endParaRPr kumimoji="0" lang="en-US"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cxnSp>
        <p:nvCxnSpPr>
          <p:cNvPr id="12" name="Straight Connector 11">
            <a:extLst>
              <a:ext uri="{FF2B5EF4-FFF2-40B4-BE49-F238E27FC236}">
                <a16:creationId xmlns:a16="http://schemas.microsoft.com/office/drawing/2014/main" id="{EB7E65A1-BCAF-DC17-226A-1410703F2892}"/>
              </a:ext>
            </a:extLst>
          </p:cNvPr>
          <p:cNvCxnSpPr/>
          <p:nvPr/>
        </p:nvCxnSpPr>
        <p:spPr>
          <a:xfrm>
            <a:off x="1220081" y="3669852"/>
            <a:ext cx="0" cy="73453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0D1DDFD-924B-766C-4AB4-F6A16D5D17CE}"/>
              </a:ext>
            </a:extLst>
          </p:cNvPr>
          <p:cNvSpPr/>
          <p:nvPr/>
        </p:nvSpPr>
        <p:spPr>
          <a:xfrm>
            <a:off x="1462805" y="4641406"/>
            <a:ext cx="4161726" cy="841897"/>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IT-O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Zusammenführung</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Die zunehmende Vernetzung zwischen IT- und OT-Umgebungen schafft neue Angriffsvektoren. Die Überbrückung der Sicherheitslücke zwischen beiden ist eine zentrale Herausforderung.</a:t>
            </a:r>
            <a:endParaRPr kumimoji="0" lang="en-US" sz="10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cxnSp>
        <p:nvCxnSpPr>
          <p:cNvPr id="14" name="Straight Connector 13">
            <a:extLst>
              <a:ext uri="{FF2B5EF4-FFF2-40B4-BE49-F238E27FC236}">
                <a16:creationId xmlns:a16="http://schemas.microsoft.com/office/drawing/2014/main" id="{C052C14D-523B-56E2-9096-69A827915E5C}"/>
              </a:ext>
            </a:extLst>
          </p:cNvPr>
          <p:cNvCxnSpPr/>
          <p:nvPr/>
        </p:nvCxnSpPr>
        <p:spPr>
          <a:xfrm>
            <a:off x="1220081" y="4691606"/>
            <a:ext cx="0" cy="73453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00D8015-6889-9B49-AE59-04A84FA7AB6C}"/>
              </a:ext>
            </a:extLst>
          </p:cNvPr>
          <p:cNvCxnSpPr>
            <a:cxnSpLocks/>
          </p:cNvCxnSpPr>
          <p:nvPr/>
        </p:nvCxnSpPr>
        <p:spPr>
          <a:xfrm flipH="1">
            <a:off x="3287713" y="5611528"/>
            <a:ext cx="89042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F15F42E-DDBC-B274-6EB7-040DE26A043F}"/>
              </a:ext>
            </a:extLst>
          </p:cNvPr>
          <p:cNvSpPr txBox="1">
            <a:spLocks/>
          </p:cNvSpPr>
          <p:nvPr/>
        </p:nvSpPr>
        <p:spPr bwMode="gray">
          <a:xfrm>
            <a:off x="7658850" y="2538842"/>
            <a:ext cx="4116590" cy="934230"/>
          </a:xfrm>
          <a:prstGeom prst="rect">
            <a:avLst/>
          </a:prstGeom>
        </p:spPr>
        <p:txBody>
          <a:bodyPr wrap="square" lIns="0" rIns="0" rtlCol="0" anchor="t" anchorCtr="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Risiken</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des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physischen</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Zugriffs</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srgbClr val="000000"/>
                </a:solidFill>
                <a:effectLst/>
                <a:uLnTx/>
                <a:uFillTx/>
                <a:latin typeface="Aptos" panose="020B0004020202020204" pitchFamily="34" charset="0"/>
                <a:ea typeface="Open Sans Light" panose="020B0306030504020204" pitchFamily="34" charset="0"/>
                <a:cs typeface="Open Sans Light" panose="020B0306030504020204" pitchFamily="34" charset="0"/>
              </a:rPr>
              <a:t>Im Gegensatz zu IT-Umgebungen sind OT-Systeme häufig physisch exponiert (z. B. Bedienfelder in Fabriken), wo Insider-Bedrohungen erhebliche Risiken darstellen.</a:t>
            </a: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sp>
        <p:nvSpPr>
          <p:cNvPr id="59" name="TextBox 58">
            <a:extLst>
              <a:ext uri="{FF2B5EF4-FFF2-40B4-BE49-F238E27FC236}">
                <a16:creationId xmlns:a16="http://schemas.microsoft.com/office/drawing/2014/main" id="{4AFCEC78-92CF-D2BE-5F30-8C880C69B623}"/>
              </a:ext>
            </a:extLst>
          </p:cNvPr>
          <p:cNvSpPr txBox="1">
            <a:spLocks/>
          </p:cNvSpPr>
          <p:nvPr/>
        </p:nvSpPr>
        <p:spPr bwMode="gray">
          <a:xfrm>
            <a:off x="7658850" y="3563800"/>
            <a:ext cx="4116590" cy="934230"/>
          </a:xfrm>
          <a:prstGeom prst="rect">
            <a:avLst/>
          </a:prstGeom>
        </p:spPr>
        <p:txBody>
          <a:bodyPr wrap="square" lIns="0" rIns="0" rtlCol="0" anchor="t" anchorCtr="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Remote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Zugriff</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mp;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Wartung</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durch</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Dritte</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srgbClr val="000000"/>
                </a:solidFill>
                <a:effectLst/>
                <a:uLnTx/>
                <a:uFillTx/>
                <a:latin typeface="Aptos" panose="020B0004020202020204" pitchFamily="34" charset="0"/>
                <a:ea typeface="Open Sans Light" panose="020B0306030504020204" pitchFamily="34" charset="0"/>
                <a:cs typeface="Open Sans Light" panose="020B0306030504020204" pitchFamily="34" charset="0"/>
              </a:rPr>
              <a:t>Drittanbieter benötigen häufig Zugriff für Wartungsarbeiten, wodurch die Angriffsfläche vergrößert wird und strenge Zugriffskontrollen erforderlich sind.</a:t>
            </a: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cxnSp>
        <p:nvCxnSpPr>
          <p:cNvPr id="60" name="Straight Connector 59">
            <a:extLst>
              <a:ext uri="{FF2B5EF4-FFF2-40B4-BE49-F238E27FC236}">
                <a16:creationId xmlns:a16="http://schemas.microsoft.com/office/drawing/2014/main" id="{3A2B26B5-3922-478A-D746-31C18D6569C9}"/>
              </a:ext>
            </a:extLst>
          </p:cNvPr>
          <p:cNvCxnSpPr>
            <a:cxnSpLocks/>
          </p:cNvCxnSpPr>
          <p:nvPr/>
        </p:nvCxnSpPr>
        <p:spPr>
          <a:xfrm>
            <a:off x="7355532" y="1593138"/>
            <a:ext cx="0" cy="73453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9BC936E-A356-A54F-5E3C-705EE9F4F4AB}"/>
              </a:ext>
            </a:extLst>
          </p:cNvPr>
          <p:cNvCxnSpPr>
            <a:cxnSpLocks/>
          </p:cNvCxnSpPr>
          <p:nvPr/>
        </p:nvCxnSpPr>
        <p:spPr>
          <a:xfrm>
            <a:off x="7355532" y="2624653"/>
            <a:ext cx="0" cy="734530"/>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7F09998-79C6-834A-1077-A9DD666D1132}"/>
              </a:ext>
            </a:extLst>
          </p:cNvPr>
          <p:cNvCxnSpPr/>
          <p:nvPr/>
        </p:nvCxnSpPr>
        <p:spPr>
          <a:xfrm>
            <a:off x="7355532" y="3669852"/>
            <a:ext cx="0" cy="73453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C2872352-5426-C33C-5C37-F6FBA037D164}"/>
              </a:ext>
            </a:extLst>
          </p:cNvPr>
          <p:cNvSpPr/>
          <p:nvPr/>
        </p:nvSpPr>
        <p:spPr>
          <a:xfrm>
            <a:off x="7591613" y="4635539"/>
            <a:ext cx="4161726" cy="654795"/>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Auswirkung</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 auf </a:t>
            </a:r>
            <a:r>
              <a:rPr kumimoji="0" lang="en-US" sz="1200" b="1" i="0" u="none" strike="noStrike" kern="1200" cap="none" spc="0" normalizeH="0" baseline="0" noProof="0" err="1">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Sicherheit</a:t>
            </a:r>
            <a:endPar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de-AT" sz="1000" b="0"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rPr>
              <a:t>Ein Cyberangriff auf OT kann physische Folgen haben, was dazu führt, dass Sicherheitsaspekte gegenüber Sicherheitsmaßnahmen Vorrang haben.</a:t>
            </a:r>
            <a:endParaRPr kumimoji="0" lang="en-US" sz="1000" b="1" i="0" u="none" strike="noStrike" kern="1200" cap="none" spc="0" normalizeH="0" baseline="0" noProof="0">
              <a:ln>
                <a:noFill/>
              </a:ln>
              <a:solidFill>
                <a:prstClr val="black"/>
              </a:solidFill>
              <a:effectLst/>
              <a:uLnTx/>
              <a:uFillTx/>
              <a:latin typeface="Aptos" panose="020B0004020202020204" pitchFamily="34" charset="0"/>
              <a:ea typeface="Open Sans Light" panose="020B0306030504020204" pitchFamily="34" charset="0"/>
              <a:cs typeface="Open Sans Light" panose="020B0306030504020204" pitchFamily="34" charset="0"/>
            </a:endParaRPr>
          </a:p>
        </p:txBody>
      </p:sp>
      <p:cxnSp>
        <p:nvCxnSpPr>
          <p:cNvPr id="150" name="Straight Connector 149">
            <a:extLst>
              <a:ext uri="{FF2B5EF4-FFF2-40B4-BE49-F238E27FC236}">
                <a16:creationId xmlns:a16="http://schemas.microsoft.com/office/drawing/2014/main" id="{9F032D35-9025-985B-4501-F7A322CE8C37}"/>
              </a:ext>
            </a:extLst>
          </p:cNvPr>
          <p:cNvCxnSpPr/>
          <p:nvPr/>
        </p:nvCxnSpPr>
        <p:spPr>
          <a:xfrm>
            <a:off x="7348889" y="4685739"/>
            <a:ext cx="0" cy="73453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57" name="Graphic 5">
            <a:extLst>
              <a:ext uri="{FF2B5EF4-FFF2-40B4-BE49-F238E27FC236}">
                <a16:creationId xmlns:a16="http://schemas.microsoft.com/office/drawing/2014/main" id="{2196DFE1-73B6-694D-C538-93047A1431C6}"/>
              </a:ext>
            </a:extLst>
          </p:cNvPr>
          <p:cNvSpPr>
            <a:spLocks/>
          </p:cNvSpPr>
          <p:nvPr/>
        </p:nvSpPr>
        <p:spPr>
          <a:xfrm>
            <a:off x="474381" y="1703549"/>
            <a:ext cx="540000" cy="540000"/>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75084 w 362309"/>
              <a:gd name="connsiteY6" fmla="*/ 72777 h 361971"/>
              <a:gd name="connsiteX7" fmla="*/ 181474 w 362309"/>
              <a:gd name="connsiteY7" fmla="*/ 66393 h 361971"/>
              <a:gd name="connsiteX8" fmla="*/ 187864 w 362309"/>
              <a:gd name="connsiteY8" fmla="*/ 72777 h 361971"/>
              <a:gd name="connsiteX9" fmla="*/ 187864 w 362309"/>
              <a:gd name="connsiteY9" fmla="*/ 144916 h 361971"/>
              <a:gd name="connsiteX10" fmla="*/ 181474 w 362309"/>
              <a:gd name="connsiteY10" fmla="*/ 151300 h 361971"/>
              <a:gd name="connsiteX11" fmla="*/ 175084 w 362309"/>
              <a:gd name="connsiteY11" fmla="*/ 144916 h 361971"/>
              <a:gd name="connsiteX12" fmla="*/ 175084 w 362309"/>
              <a:gd name="connsiteY12" fmla="*/ 72777 h 361971"/>
              <a:gd name="connsiteX13" fmla="*/ 181474 w 362309"/>
              <a:gd name="connsiteY13" fmla="*/ 294940 h 361971"/>
              <a:gd name="connsiteX14" fmla="*/ 70928 w 362309"/>
              <a:gd name="connsiteY14" fmla="*/ 185135 h 361971"/>
              <a:gd name="connsiteX15" fmla="*/ 144412 w 362309"/>
              <a:gd name="connsiteY15" fmla="*/ 81076 h 361971"/>
              <a:gd name="connsiteX16" fmla="*/ 152719 w 362309"/>
              <a:gd name="connsiteY16" fmla="*/ 84907 h 361971"/>
              <a:gd name="connsiteX17" fmla="*/ 148885 w 362309"/>
              <a:gd name="connsiteY17" fmla="*/ 93206 h 361971"/>
              <a:gd name="connsiteX18" fmla="*/ 89459 w 362309"/>
              <a:gd name="connsiteY18" fmla="*/ 217694 h 361971"/>
              <a:gd name="connsiteX19" fmla="*/ 214063 w 362309"/>
              <a:gd name="connsiteY19" fmla="*/ 277065 h 361971"/>
              <a:gd name="connsiteX20" fmla="*/ 273489 w 362309"/>
              <a:gd name="connsiteY20" fmla="*/ 152577 h 361971"/>
              <a:gd name="connsiteX21" fmla="*/ 214063 w 362309"/>
              <a:gd name="connsiteY21" fmla="*/ 93206 h 361971"/>
              <a:gd name="connsiteX22" fmla="*/ 210228 w 362309"/>
              <a:gd name="connsiteY22" fmla="*/ 84907 h 361971"/>
              <a:gd name="connsiteX23" fmla="*/ 218536 w 362309"/>
              <a:gd name="connsiteY23" fmla="*/ 81076 h 361971"/>
              <a:gd name="connsiteX24" fmla="*/ 285630 w 362309"/>
              <a:gd name="connsiteY24" fmla="*/ 221524 h 361971"/>
              <a:gd name="connsiteX25" fmla="*/ 181474 w 362309"/>
              <a:gd name="connsiteY25" fmla="*/ 294940 h 361971"/>
              <a:gd name="connsiteX26" fmla="*/ 181474 w 362309"/>
              <a:gd name="connsiteY26" fmla="*/ 29494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309" h="361971">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175084" y="72777"/>
                </a:moveTo>
                <a:cubicBezTo>
                  <a:pt x="175084" y="68947"/>
                  <a:pt x="177640" y="66393"/>
                  <a:pt x="181474" y="66393"/>
                </a:cubicBezTo>
                <a:cubicBezTo>
                  <a:pt x="185308" y="66393"/>
                  <a:pt x="187864" y="68947"/>
                  <a:pt x="187864" y="72777"/>
                </a:cubicBezTo>
                <a:lnTo>
                  <a:pt x="187864" y="144916"/>
                </a:lnTo>
                <a:cubicBezTo>
                  <a:pt x="187864" y="148747"/>
                  <a:pt x="185308" y="151300"/>
                  <a:pt x="181474" y="151300"/>
                </a:cubicBezTo>
                <a:cubicBezTo>
                  <a:pt x="177640" y="151300"/>
                  <a:pt x="175084" y="148747"/>
                  <a:pt x="175084" y="144916"/>
                </a:cubicBezTo>
                <a:lnTo>
                  <a:pt x="175084" y="72777"/>
                </a:lnTo>
                <a:close/>
                <a:moveTo>
                  <a:pt x="181474" y="294940"/>
                </a:moveTo>
                <a:cubicBezTo>
                  <a:pt x="120769" y="294940"/>
                  <a:pt x="70928" y="245783"/>
                  <a:pt x="70928" y="185135"/>
                </a:cubicBezTo>
                <a:cubicBezTo>
                  <a:pt x="70928" y="138532"/>
                  <a:pt x="100322" y="96398"/>
                  <a:pt x="144412" y="81076"/>
                </a:cubicBezTo>
                <a:cubicBezTo>
                  <a:pt x="147607" y="79800"/>
                  <a:pt x="151441" y="81715"/>
                  <a:pt x="152719" y="84907"/>
                </a:cubicBezTo>
                <a:cubicBezTo>
                  <a:pt x="153997" y="88099"/>
                  <a:pt x="152080" y="91929"/>
                  <a:pt x="148885" y="93206"/>
                </a:cubicBezTo>
                <a:cubicBezTo>
                  <a:pt x="98404" y="111081"/>
                  <a:pt x="71567" y="166622"/>
                  <a:pt x="89459" y="217694"/>
                </a:cubicBezTo>
                <a:cubicBezTo>
                  <a:pt x="107350" y="268127"/>
                  <a:pt x="162943" y="294940"/>
                  <a:pt x="214063" y="277065"/>
                </a:cubicBezTo>
                <a:cubicBezTo>
                  <a:pt x="265182" y="259190"/>
                  <a:pt x="291381" y="203649"/>
                  <a:pt x="273489" y="152577"/>
                </a:cubicBezTo>
                <a:cubicBezTo>
                  <a:pt x="263904" y="125126"/>
                  <a:pt x="241539" y="102782"/>
                  <a:pt x="214063" y="93206"/>
                </a:cubicBezTo>
                <a:cubicBezTo>
                  <a:pt x="210868" y="91929"/>
                  <a:pt x="208951" y="88099"/>
                  <a:pt x="210228" y="84907"/>
                </a:cubicBezTo>
                <a:cubicBezTo>
                  <a:pt x="211507" y="81715"/>
                  <a:pt x="215341" y="79800"/>
                  <a:pt x="218536" y="81076"/>
                </a:cubicBezTo>
                <a:cubicBezTo>
                  <a:pt x="276045" y="101505"/>
                  <a:pt x="306077" y="164068"/>
                  <a:pt x="285630" y="221524"/>
                </a:cubicBezTo>
                <a:cubicBezTo>
                  <a:pt x="269655" y="265574"/>
                  <a:pt x="228120" y="294940"/>
                  <a:pt x="181474" y="294940"/>
                </a:cubicBezTo>
                <a:lnTo>
                  <a:pt x="181474" y="294940"/>
                </a:lnTo>
                <a:close/>
              </a:path>
            </a:pathLst>
          </a:custGeom>
          <a:solidFill>
            <a:schemeClr val="accent1"/>
          </a:solidFill>
          <a:ln w="6390" cap="flat">
            <a:noFill/>
            <a:prstDash val="solid"/>
            <a:miter/>
          </a:ln>
        </p:spPr>
        <p:txBody>
          <a:bodyPr rtlCol="0" anchor="ctr"/>
          <a:lstStyle/>
          <a:p>
            <a:endParaRPr lang="en-US"/>
          </a:p>
        </p:txBody>
      </p:sp>
      <p:sp>
        <p:nvSpPr>
          <p:cNvPr id="158" name="Graphic 4">
            <a:extLst>
              <a:ext uri="{FF2B5EF4-FFF2-40B4-BE49-F238E27FC236}">
                <a16:creationId xmlns:a16="http://schemas.microsoft.com/office/drawing/2014/main" id="{BECBDFC7-ECF3-5E4C-1168-6B81107D103C}"/>
              </a:ext>
            </a:extLst>
          </p:cNvPr>
          <p:cNvSpPr>
            <a:spLocks/>
          </p:cNvSpPr>
          <p:nvPr/>
        </p:nvSpPr>
        <p:spPr>
          <a:xfrm>
            <a:off x="474381" y="4777025"/>
            <a:ext cx="540000" cy="540000"/>
          </a:xfrm>
          <a:custGeom>
            <a:avLst/>
            <a:gdLst>
              <a:gd name="connsiteX0" fmla="*/ 180836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362310 w 362309"/>
              <a:gd name="connsiteY4" fmla="*/ 180667 h 361971"/>
              <a:gd name="connsiteX5" fmla="*/ 180836 w 362309"/>
              <a:gd name="connsiteY5" fmla="*/ 0 h 361971"/>
              <a:gd name="connsiteX6" fmla="*/ 180836 w 362309"/>
              <a:gd name="connsiteY6" fmla="*/ 0 h 361971"/>
              <a:gd name="connsiteX7" fmla="*/ 173168 w 362309"/>
              <a:gd name="connsiteY7" fmla="*/ 167260 h 361971"/>
              <a:gd name="connsiteX8" fmla="*/ 172528 w 362309"/>
              <a:gd name="connsiteY8" fmla="*/ 169814 h 361971"/>
              <a:gd name="connsiteX9" fmla="*/ 172528 w 362309"/>
              <a:gd name="connsiteY9" fmla="*/ 170452 h 361971"/>
              <a:gd name="connsiteX10" fmla="*/ 171889 w 362309"/>
              <a:gd name="connsiteY10" fmla="*/ 171729 h 361971"/>
              <a:gd name="connsiteX11" fmla="*/ 171251 w 362309"/>
              <a:gd name="connsiteY11" fmla="*/ 172368 h 361971"/>
              <a:gd name="connsiteX12" fmla="*/ 169333 w 362309"/>
              <a:gd name="connsiteY12" fmla="*/ 173644 h 361971"/>
              <a:gd name="connsiteX13" fmla="*/ 169333 w 362309"/>
              <a:gd name="connsiteY13" fmla="*/ 173644 h 361971"/>
              <a:gd name="connsiteX14" fmla="*/ 169333 w 362309"/>
              <a:gd name="connsiteY14" fmla="*/ 173644 h 361971"/>
              <a:gd name="connsiteX15" fmla="*/ 166778 w 362309"/>
              <a:gd name="connsiteY15" fmla="*/ 174283 h 361971"/>
              <a:gd name="connsiteX16" fmla="*/ 106712 w 362309"/>
              <a:gd name="connsiteY16" fmla="*/ 174283 h 361971"/>
              <a:gd name="connsiteX17" fmla="*/ 100322 w 362309"/>
              <a:gd name="connsiteY17" fmla="*/ 167899 h 361971"/>
              <a:gd name="connsiteX18" fmla="*/ 106712 w 362309"/>
              <a:gd name="connsiteY18" fmla="*/ 161515 h 361971"/>
              <a:gd name="connsiteX19" fmla="*/ 151442 w 362309"/>
              <a:gd name="connsiteY19" fmla="*/ 161515 h 361971"/>
              <a:gd name="connsiteX20" fmla="*/ 87542 w 362309"/>
              <a:gd name="connsiteY20" fmla="*/ 97675 h 361971"/>
              <a:gd name="connsiteX21" fmla="*/ 88181 w 362309"/>
              <a:gd name="connsiteY21" fmla="*/ 88737 h 361971"/>
              <a:gd name="connsiteX22" fmla="*/ 96488 w 362309"/>
              <a:gd name="connsiteY22" fmla="*/ 88737 h 361971"/>
              <a:gd name="connsiteX23" fmla="*/ 160388 w 362309"/>
              <a:gd name="connsiteY23" fmla="*/ 152577 h 361971"/>
              <a:gd name="connsiteX24" fmla="*/ 160388 w 362309"/>
              <a:gd name="connsiteY24" fmla="*/ 107889 h 361971"/>
              <a:gd name="connsiteX25" fmla="*/ 166778 w 362309"/>
              <a:gd name="connsiteY25" fmla="*/ 101505 h 361971"/>
              <a:gd name="connsiteX26" fmla="*/ 173168 w 362309"/>
              <a:gd name="connsiteY26" fmla="*/ 107889 h 361971"/>
              <a:gd name="connsiteX27" fmla="*/ 173168 w 362309"/>
              <a:gd name="connsiteY27" fmla="*/ 167260 h 361971"/>
              <a:gd name="connsiteX28" fmla="*/ 273490 w 362309"/>
              <a:gd name="connsiteY28" fmla="*/ 273873 h 361971"/>
              <a:gd name="connsiteX29" fmla="*/ 269017 w 362309"/>
              <a:gd name="connsiteY29" fmla="*/ 275788 h 361971"/>
              <a:gd name="connsiteX30" fmla="*/ 264544 w 362309"/>
              <a:gd name="connsiteY30" fmla="*/ 273873 h 361971"/>
              <a:gd name="connsiteX31" fmla="*/ 200644 w 362309"/>
              <a:gd name="connsiteY31" fmla="*/ 210033 h 361971"/>
              <a:gd name="connsiteX32" fmla="*/ 200644 w 362309"/>
              <a:gd name="connsiteY32" fmla="*/ 254721 h 361971"/>
              <a:gd name="connsiteX33" fmla="*/ 194254 w 362309"/>
              <a:gd name="connsiteY33" fmla="*/ 261105 h 361971"/>
              <a:gd name="connsiteX34" fmla="*/ 187864 w 362309"/>
              <a:gd name="connsiteY34" fmla="*/ 254721 h 361971"/>
              <a:gd name="connsiteX35" fmla="*/ 187864 w 362309"/>
              <a:gd name="connsiteY35" fmla="*/ 194711 h 361971"/>
              <a:gd name="connsiteX36" fmla="*/ 187864 w 362309"/>
              <a:gd name="connsiteY36" fmla="*/ 194711 h 361971"/>
              <a:gd name="connsiteX37" fmla="*/ 188503 w 362309"/>
              <a:gd name="connsiteY37" fmla="*/ 192158 h 361971"/>
              <a:gd name="connsiteX38" fmla="*/ 188503 w 362309"/>
              <a:gd name="connsiteY38" fmla="*/ 192158 h 361971"/>
              <a:gd name="connsiteX39" fmla="*/ 188503 w 362309"/>
              <a:gd name="connsiteY39" fmla="*/ 192158 h 361971"/>
              <a:gd name="connsiteX40" fmla="*/ 189781 w 362309"/>
              <a:gd name="connsiteY40" fmla="*/ 190243 h 361971"/>
              <a:gd name="connsiteX41" fmla="*/ 190420 w 362309"/>
              <a:gd name="connsiteY41" fmla="*/ 189604 h 361971"/>
              <a:gd name="connsiteX42" fmla="*/ 191698 w 362309"/>
              <a:gd name="connsiteY42" fmla="*/ 188966 h 361971"/>
              <a:gd name="connsiteX43" fmla="*/ 192337 w 362309"/>
              <a:gd name="connsiteY43" fmla="*/ 188966 h 361971"/>
              <a:gd name="connsiteX44" fmla="*/ 194254 w 362309"/>
              <a:gd name="connsiteY44" fmla="*/ 188327 h 361971"/>
              <a:gd name="connsiteX45" fmla="*/ 254320 w 362309"/>
              <a:gd name="connsiteY45" fmla="*/ 188327 h 361971"/>
              <a:gd name="connsiteX46" fmla="*/ 260710 w 362309"/>
              <a:gd name="connsiteY46" fmla="*/ 194711 h 361971"/>
              <a:gd name="connsiteX47" fmla="*/ 254320 w 362309"/>
              <a:gd name="connsiteY47" fmla="*/ 201095 h 361971"/>
              <a:gd name="connsiteX48" fmla="*/ 209590 w 362309"/>
              <a:gd name="connsiteY48" fmla="*/ 201095 h 361971"/>
              <a:gd name="connsiteX49" fmla="*/ 273490 w 362309"/>
              <a:gd name="connsiteY49" fmla="*/ 264935 h 361971"/>
              <a:gd name="connsiteX50" fmla="*/ 273490 w 362309"/>
              <a:gd name="connsiteY50" fmla="*/ 273873 h 361971"/>
              <a:gd name="connsiteX51" fmla="*/ 273490 w 362309"/>
              <a:gd name="connsiteY51"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2309" h="361971">
                <a:moveTo>
                  <a:pt x="180836" y="0"/>
                </a:moveTo>
                <a:cubicBezTo>
                  <a:pt x="80513" y="0"/>
                  <a:pt x="0" y="81076"/>
                  <a:pt x="0" y="181305"/>
                </a:cubicBezTo>
                <a:cubicBezTo>
                  <a:pt x="0" y="281533"/>
                  <a:pt x="81152" y="361972"/>
                  <a:pt x="181474" y="361972"/>
                </a:cubicBezTo>
                <a:cubicBezTo>
                  <a:pt x="281796" y="361972"/>
                  <a:pt x="362310" y="280895"/>
                  <a:pt x="362310" y="180667"/>
                </a:cubicBezTo>
                <a:cubicBezTo>
                  <a:pt x="362310" y="180667"/>
                  <a:pt x="362310" y="180667"/>
                  <a:pt x="362310" y="180667"/>
                </a:cubicBezTo>
                <a:cubicBezTo>
                  <a:pt x="361671" y="80438"/>
                  <a:pt x="280518" y="0"/>
                  <a:pt x="180836" y="0"/>
                </a:cubicBezTo>
                <a:cubicBezTo>
                  <a:pt x="180836" y="0"/>
                  <a:pt x="180836" y="0"/>
                  <a:pt x="180836" y="0"/>
                </a:cubicBezTo>
                <a:close/>
                <a:moveTo>
                  <a:pt x="173168" y="167260"/>
                </a:moveTo>
                <a:cubicBezTo>
                  <a:pt x="173168" y="167899"/>
                  <a:pt x="173168" y="168537"/>
                  <a:pt x="172528" y="169814"/>
                </a:cubicBezTo>
                <a:lnTo>
                  <a:pt x="172528" y="170452"/>
                </a:lnTo>
                <a:cubicBezTo>
                  <a:pt x="172528" y="171091"/>
                  <a:pt x="171889" y="171091"/>
                  <a:pt x="171889" y="171729"/>
                </a:cubicBezTo>
                <a:lnTo>
                  <a:pt x="171251" y="172368"/>
                </a:lnTo>
                <a:cubicBezTo>
                  <a:pt x="170611" y="173006"/>
                  <a:pt x="169973" y="173006"/>
                  <a:pt x="169333" y="173644"/>
                </a:cubicBezTo>
                <a:lnTo>
                  <a:pt x="169333" y="173644"/>
                </a:lnTo>
                <a:lnTo>
                  <a:pt x="169333" y="173644"/>
                </a:lnTo>
                <a:cubicBezTo>
                  <a:pt x="168695" y="174283"/>
                  <a:pt x="168056" y="174283"/>
                  <a:pt x="166778" y="174283"/>
                </a:cubicBezTo>
                <a:lnTo>
                  <a:pt x="106712" y="174283"/>
                </a:lnTo>
                <a:cubicBezTo>
                  <a:pt x="102878" y="174283"/>
                  <a:pt x="100322" y="171729"/>
                  <a:pt x="100322" y="167899"/>
                </a:cubicBezTo>
                <a:cubicBezTo>
                  <a:pt x="100322" y="164068"/>
                  <a:pt x="102878" y="161515"/>
                  <a:pt x="106712" y="161515"/>
                </a:cubicBezTo>
                <a:lnTo>
                  <a:pt x="151442" y="161515"/>
                </a:lnTo>
                <a:lnTo>
                  <a:pt x="87542" y="97675"/>
                </a:lnTo>
                <a:cubicBezTo>
                  <a:pt x="84986" y="95121"/>
                  <a:pt x="85625" y="90652"/>
                  <a:pt x="88181" y="88737"/>
                </a:cubicBezTo>
                <a:cubicBezTo>
                  <a:pt x="90737" y="86822"/>
                  <a:pt x="93932" y="86822"/>
                  <a:pt x="96488" y="88737"/>
                </a:cubicBezTo>
                <a:lnTo>
                  <a:pt x="160388" y="152577"/>
                </a:lnTo>
                <a:lnTo>
                  <a:pt x="160388" y="107889"/>
                </a:lnTo>
                <a:cubicBezTo>
                  <a:pt x="160388" y="104059"/>
                  <a:pt x="162943" y="101505"/>
                  <a:pt x="166778" y="101505"/>
                </a:cubicBezTo>
                <a:cubicBezTo>
                  <a:pt x="170611" y="101505"/>
                  <a:pt x="173168" y="104059"/>
                  <a:pt x="173168" y="107889"/>
                </a:cubicBezTo>
                <a:lnTo>
                  <a:pt x="173168" y="167260"/>
                </a:lnTo>
                <a:close/>
                <a:moveTo>
                  <a:pt x="273490" y="273873"/>
                </a:moveTo>
                <a:cubicBezTo>
                  <a:pt x="272212" y="275149"/>
                  <a:pt x="270934" y="275788"/>
                  <a:pt x="269017" y="275788"/>
                </a:cubicBezTo>
                <a:cubicBezTo>
                  <a:pt x="267100" y="275788"/>
                  <a:pt x="265822" y="275149"/>
                  <a:pt x="264544" y="273873"/>
                </a:cubicBezTo>
                <a:lnTo>
                  <a:pt x="200644" y="210033"/>
                </a:lnTo>
                <a:lnTo>
                  <a:pt x="200644" y="254721"/>
                </a:lnTo>
                <a:cubicBezTo>
                  <a:pt x="200644" y="258551"/>
                  <a:pt x="198088" y="261105"/>
                  <a:pt x="194254" y="261105"/>
                </a:cubicBezTo>
                <a:cubicBezTo>
                  <a:pt x="190420" y="261105"/>
                  <a:pt x="187864" y="258551"/>
                  <a:pt x="187864" y="254721"/>
                </a:cubicBezTo>
                <a:lnTo>
                  <a:pt x="187864" y="194711"/>
                </a:lnTo>
                <a:lnTo>
                  <a:pt x="187864" y="194711"/>
                </a:lnTo>
                <a:cubicBezTo>
                  <a:pt x="187864" y="194073"/>
                  <a:pt x="187864" y="193435"/>
                  <a:pt x="188503" y="192158"/>
                </a:cubicBezTo>
                <a:lnTo>
                  <a:pt x="188503" y="192158"/>
                </a:lnTo>
                <a:lnTo>
                  <a:pt x="188503" y="192158"/>
                </a:lnTo>
                <a:cubicBezTo>
                  <a:pt x="188503" y="191519"/>
                  <a:pt x="189142" y="190881"/>
                  <a:pt x="189781" y="190243"/>
                </a:cubicBezTo>
                <a:lnTo>
                  <a:pt x="190420" y="189604"/>
                </a:lnTo>
                <a:cubicBezTo>
                  <a:pt x="191059" y="188966"/>
                  <a:pt x="191059" y="188966"/>
                  <a:pt x="191698" y="188966"/>
                </a:cubicBezTo>
                <a:lnTo>
                  <a:pt x="192337" y="188966"/>
                </a:lnTo>
                <a:cubicBezTo>
                  <a:pt x="192976" y="188966"/>
                  <a:pt x="193615" y="188327"/>
                  <a:pt x="194254" y="188327"/>
                </a:cubicBezTo>
                <a:lnTo>
                  <a:pt x="254320" y="188327"/>
                </a:lnTo>
                <a:cubicBezTo>
                  <a:pt x="258154" y="188327"/>
                  <a:pt x="260710" y="190881"/>
                  <a:pt x="260710" y="194711"/>
                </a:cubicBezTo>
                <a:cubicBezTo>
                  <a:pt x="260710" y="198542"/>
                  <a:pt x="258154" y="201095"/>
                  <a:pt x="254320" y="201095"/>
                </a:cubicBezTo>
                <a:lnTo>
                  <a:pt x="209590" y="201095"/>
                </a:lnTo>
                <a:lnTo>
                  <a:pt x="273490" y="264935"/>
                </a:lnTo>
                <a:cubicBezTo>
                  <a:pt x="275407" y="267489"/>
                  <a:pt x="275407" y="271319"/>
                  <a:pt x="273490" y="273873"/>
                </a:cubicBezTo>
                <a:lnTo>
                  <a:pt x="273490" y="273873"/>
                </a:lnTo>
                <a:close/>
              </a:path>
            </a:pathLst>
          </a:custGeom>
          <a:solidFill>
            <a:schemeClr val="bg2"/>
          </a:solidFill>
          <a:ln w="6390" cap="flat">
            <a:noFill/>
            <a:prstDash val="solid"/>
            <a:miter/>
          </a:ln>
        </p:spPr>
        <p:txBody>
          <a:bodyPr rtlCol="0" anchor="ctr"/>
          <a:lstStyle/>
          <a:p>
            <a:endParaRPr lang="en-US"/>
          </a:p>
        </p:txBody>
      </p:sp>
      <p:grpSp>
        <p:nvGrpSpPr>
          <p:cNvPr id="159" name="Graphic 4">
            <a:extLst>
              <a:ext uri="{FF2B5EF4-FFF2-40B4-BE49-F238E27FC236}">
                <a16:creationId xmlns:a16="http://schemas.microsoft.com/office/drawing/2014/main" id="{F754E3B4-BDFB-4B24-AFA9-7347E84CE7D9}"/>
              </a:ext>
            </a:extLst>
          </p:cNvPr>
          <p:cNvGrpSpPr>
            <a:grpSpLocks/>
          </p:cNvGrpSpPr>
          <p:nvPr/>
        </p:nvGrpSpPr>
        <p:grpSpPr>
          <a:xfrm>
            <a:off x="6609832" y="1703549"/>
            <a:ext cx="540000" cy="540000"/>
            <a:chOff x="905454" y="1893013"/>
            <a:chExt cx="362309" cy="362610"/>
          </a:xfrm>
          <a:solidFill>
            <a:srgbClr val="012169"/>
          </a:solidFill>
        </p:grpSpPr>
        <p:sp>
          <p:nvSpPr>
            <p:cNvPr id="160" name="Graphic 4">
              <a:extLst>
                <a:ext uri="{FF2B5EF4-FFF2-40B4-BE49-F238E27FC236}">
                  <a16:creationId xmlns:a16="http://schemas.microsoft.com/office/drawing/2014/main" id="{5629312E-2ED6-4448-2124-B74856FC743F}"/>
                </a:ext>
              </a:extLst>
            </p:cNvPr>
            <p:cNvSpPr/>
            <p:nvPr/>
          </p:nvSpPr>
          <p:spPr>
            <a:xfrm>
              <a:off x="905454" y="189301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362309 w 362309"/>
                <a:gd name="connsiteY4" fmla="*/ 181305 h 362610"/>
                <a:gd name="connsiteX5" fmla="*/ 180835 w 362309"/>
                <a:gd name="connsiteY5" fmla="*/ 0 h 362610"/>
                <a:gd name="connsiteX6" fmla="*/ 180835 w 362309"/>
                <a:gd name="connsiteY6" fmla="*/ 294302 h 362610"/>
                <a:gd name="connsiteX7" fmla="*/ 164860 w 362309"/>
                <a:gd name="connsiteY7" fmla="*/ 293025 h 362610"/>
                <a:gd name="connsiteX8" fmla="*/ 164860 w 362309"/>
                <a:gd name="connsiteY8" fmla="*/ 293025 h 362610"/>
                <a:gd name="connsiteX9" fmla="*/ 162943 w 362309"/>
                <a:gd name="connsiteY9" fmla="*/ 292387 h 362610"/>
                <a:gd name="connsiteX10" fmla="*/ 151441 w 362309"/>
                <a:gd name="connsiteY10" fmla="*/ 289833 h 362610"/>
                <a:gd name="connsiteX11" fmla="*/ 150164 w 362309"/>
                <a:gd name="connsiteY11" fmla="*/ 289195 h 362610"/>
                <a:gd name="connsiteX12" fmla="*/ 71567 w 362309"/>
                <a:gd name="connsiteY12" fmla="*/ 149385 h 362610"/>
                <a:gd name="connsiteX13" fmla="*/ 79874 w 362309"/>
                <a:gd name="connsiteY13" fmla="*/ 127680 h 362610"/>
                <a:gd name="connsiteX14" fmla="*/ 80513 w 362309"/>
                <a:gd name="connsiteY14" fmla="*/ 126403 h 362610"/>
                <a:gd name="connsiteX15" fmla="*/ 161026 w 362309"/>
                <a:gd name="connsiteY15" fmla="*/ 67670 h 362610"/>
                <a:gd name="connsiteX16" fmla="*/ 162304 w 362309"/>
                <a:gd name="connsiteY16" fmla="*/ 67670 h 362610"/>
                <a:gd name="connsiteX17" fmla="*/ 180835 w 362309"/>
                <a:gd name="connsiteY17" fmla="*/ 66393 h 362610"/>
                <a:gd name="connsiteX18" fmla="*/ 228760 w 362309"/>
                <a:gd name="connsiteY18" fmla="*/ 77246 h 362610"/>
                <a:gd name="connsiteX19" fmla="*/ 229399 w 362309"/>
                <a:gd name="connsiteY19" fmla="*/ 77246 h 362610"/>
                <a:gd name="connsiteX20" fmla="*/ 230038 w 362309"/>
                <a:gd name="connsiteY20" fmla="*/ 77885 h 362610"/>
                <a:gd name="connsiteX21" fmla="*/ 270294 w 362309"/>
                <a:gd name="connsiteY21" fmla="*/ 110443 h 362610"/>
                <a:gd name="connsiteX22" fmla="*/ 272211 w 362309"/>
                <a:gd name="connsiteY22" fmla="*/ 112358 h 362610"/>
                <a:gd name="connsiteX23" fmla="*/ 286269 w 362309"/>
                <a:gd name="connsiteY23" fmla="*/ 137256 h 362610"/>
                <a:gd name="connsiteX24" fmla="*/ 286908 w 362309"/>
                <a:gd name="connsiteY24" fmla="*/ 138533 h 362610"/>
                <a:gd name="connsiteX25" fmla="*/ 223009 w 362309"/>
                <a:gd name="connsiteY25" fmla="*/ 285364 h 362610"/>
                <a:gd name="connsiteX26" fmla="*/ 180835 w 362309"/>
                <a:gd name="connsiteY26" fmla="*/ 294302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181305"/>
                    <a:pt x="362309" y="181305"/>
                    <a:pt x="362309" y="181305"/>
                  </a:cubicBezTo>
                  <a:cubicBezTo>
                    <a:pt x="361670" y="81077"/>
                    <a:pt x="281157" y="0"/>
                    <a:pt x="180835" y="0"/>
                  </a:cubicBezTo>
                  <a:close/>
                  <a:moveTo>
                    <a:pt x="180835" y="294302"/>
                  </a:moveTo>
                  <a:cubicBezTo>
                    <a:pt x="175723" y="294302"/>
                    <a:pt x="169972" y="293663"/>
                    <a:pt x="164860" y="293025"/>
                  </a:cubicBezTo>
                  <a:lnTo>
                    <a:pt x="164860" y="293025"/>
                  </a:lnTo>
                  <a:cubicBezTo>
                    <a:pt x="164221" y="293025"/>
                    <a:pt x="163582" y="293025"/>
                    <a:pt x="162943" y="292387"/>
                  </a:cubicBezTo>
                  <a:cubicBezTo>
                    <a:pt x="159110" y="291748"/>
                    <a:pt x="155275" y="291110"/>
                    <a:pt x="151441" y="289833"/>
                  </a:cubicBezTo>
                  <a:cubicBezTo>
                    <a:pt x="150803" y="289833"/>
                    <a:pt x="150164" y="289833"/>
                    <a:pt x="150164" y="289195"/>
                  </a:cubicBezTo>
                  <a:cubicBezTo>
                    <a:pt x="90098" y="272596"/>
                    <a:pt x="54954" y="210033"/>
                    <a:pt x="71567" y="149385"/>
                  </a:cubicBezTo>
                  <a:cubicBezTo>
                    <a:pt x="73484" y="141724"/>
                    <a:pt x="76679" y="134702"/>
                    <a:pt x="79874" y="127680"/>
                  </a:cubicBezTo>
                  <a:cubicBezTo>
                    <a:pt x="79874" y="127041"/>
                    <a:pt x="79874" y="127041"/>
                    <a:pt x="80513" y="126403"/>
                  </a:cubicBezTo>
                  <a:cubicBezTo>
                    <a:pt x="97127" y="95760"/>
                    <a:pt x="126521" y="74054"/>
                    <a:pt x="161026" y="67670"/>
                  </a:cubicBezTo>
                  <a:cubicBezTo>
                    <a:pt x="161665" y="67670"/>
                    <a:pt x="161665" y="67670"/>
                    <a:pt x="162304" y="67670"/>
                  </a:cubicBezTo>
                  <a:cubicBezTo>
                    <a:pt x="168055" y="66393"/>
                    <a:pt x="174445" y="66393"/>
                    <a:pt x="180835" y="66393"/>
                  </a:cubicBezTo>
                  <a:cubicBezTo>
                    <a:pt x="197449" y="66393"/>
                    <a:pt x="213424" y="70224"/>
                    <a:pt x="228760" y="77246"/>
                  </a:cubicBezTo>
                  <a:lnTo>
                    <a:pt x="229399" y="77246"/>
                  </a:lnTo>
                  <a:lnTo>
                    <a:pt x="230038" y="77885"/>
                  </a:lnTo>
                  <a:cubicBezTo>
                    <a:pt x="246013" y="85545"/>
                    <a:pt x="259431" y="97037"/>
                    <a:pt x="270294" y="110443"/>
                  </a:cubicBezTo>
                  <a:cubicBezTo>
                    <a:pt x="270933" y="111081"/>
                    <a:pt x="271572" y="111720"/>
                    <a:pt x="272211" y="112358"/>
                  </a:cubicBezTo>
                  <a:cubicBezTo>
                    <a:pt x="277962" y="120019"/>
                    <a:pt x="282435" y="128318"/>
                    <a:pt x="286269" y="137256"/>
                  </a:cubicBezTo>
                  <a:cubicBezTo>
                    <a:pt x="286269" y="137894"/>
                    <a:pt x="286908" y="137894"/>
                    <a:pt x="286908" y="138533"/>
                  </a:cubicBezTo>
                  <a:cubicBezTo>
                    <a:pt x="309912" y="196627"/>
                    <a:pt x="281157" y="262382"/>
                    <a:pt x="223009" y="285364"/>
                  </a:cubicBezTo>
                  <a:cubicBezTo>
                    <a:pt x="209590" y="291748"/>
                    <a:pt x="195532" y="294302"/>
                    <a:pt x="180835" y="294302"/>
                  </a:cubicBezTo>
                  <a:close/>
                </a:path>
              </a:pathLst>
            </a:custGeom>
            <a:solidFill>
              <a:srgbClr val="012169"/>
            </a:solidFill>
            <a:ln w="6390" cap="flat">
              <a:noFill/>
              <a:prstDash val="solid"/>
              <a:miter/>
            </a:ln>
          </p:spPr>
          <p:txBody>
            <a:bodyPr rtlCol="0" anchor="ctr"/>
            <a:lstStyle/>
            <a:p>
              <a:endParaRPr lang="en-US"/>
            </a:p>
          </p:txBody>
        </p:sp>
        <p:sp>
          <p:nvSpPr>
            <p:cNvPr id="161" name="Graphic 4">
              <a:extLst>
                <a:ext uri="{FF2B5EF4-FFF2-40B4-BE49-F238E27FC236}">
                  <a16:creationId xmlns:a16="http://schemas.microsoft.com/office/drawing/2014/main" id="{1FDFA902-3FA2-C9CC-B35B-DD68363F4208}"/>
                </a:ext>
              </a:extLst>
            </p:cNvPr>
            <p:cNvSpPr/>
            <p:nvPr/>
          </p:nvSpPr>
          <p:spPr>
            <a:xfrm>
              <a:off x="1172553" y="2023884"/>
              <a:ext cx="3834" cy="4468"/>
            </a:xfrm>
            <a:custGeom>
              <a:avLst/>
              <a:gdLst>
                <a:gd name="connsiteX0" fmla="*/ 3834 w 3834"/>
                <a:gd name="connsiteY0" fmla="*/ 4469 h 4468"/>
                <a:gd name="connsiteX1" fmla="*/ 1278 w 3834"/>
                <a:gd name="connsiteY1" fmla="*/ 0 h 4468"/>
                <a:gd name="connsiteX2" fmla="*/ 0 w 3834"/>
                <a:gd name="connsiteY2" fmla="*/ 3192 h 4468"/>
                <a:gd name="connsiteX3" fmla="*/ 639 w 3834"/>
                <a:gd name="connsiteY3" fmla="*/ 4469 h 4468"/>
                <a:gd name="connsiteX4" fmla="*/ 3834 w 3834"/>
                <a:gd name="connsiteY4" fmla="*/ 4469 h 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4" h="4468">
                  <a:moveTo>
                    <a:pt x="3834" y="4469"/>
                  </a:moveTo>
                  <a:cubicBezTo>
                    <a:pt x="3195" y="3192"/>
                    <a:pt x="2556" y="1915"/>
                    <a:pt x="1278" y="0"/>
                  </a:cubicBezTo>
                  <a:lnTo>
                    <a:pt x="0" y="3192"/>
                  </a:lnTo>
                  <a:lnTo>
                    <a:pt x="639" y="4469"/>
                  </a:lnTo>
                  <a:lnTo>
                    <a:pt x="3834" y="4469"/>
                  </a:lnTo>
                  <a:close/>
                </a:path>
              </a:pathLst>
            </a:custGeom>
            <a:solidFill>
              <a:srgbClr val="012169"/>
            </a:solidFill>
            <a:ln w="6390" cap="flat">
              <a:noFill/>
              <a:prstDash val="solid"/>
              <a:miter/>
            </a:ln>
          </p:spPr>
          <p:txBody>
            <a:bodyPr rtlCol="0" anchor="ctr"/>
            <a:lstStyle/>
            <a:p>
              <a:endParaRPr lang="en-US"/>
            </a:p>
          </p:txBody>
        </p:sp>
        <p:sp>
          <p:nvSpPr>
            <p:cNvPr id="162" name="Graphic 4">
              <a:extLst>
                <a:ext uri="{FF2B5EF4-FFF2-40B4-BE49-F238E27FC236}">
                  <a16:creationId xmlns:a16="http://schemas.microsoft.com/office/drawing/2014/main" id="{D601C63B-CBF3-E00D-CECE-A47C34436886}"/>
                </a:ext>
              </a:extLst>
            </p:cNvPr>
            <p:cNvSpPr/>
            <p:nvPr/>
          </p:nvSpPr>
          <p:spPr>
            <a:xfrm>
              <a:off x="985328" y="2036652"/>
              <a:ext cx="66455" cy="131510"/>
            </a:xfrm>
            <a:custGeom>
              <a:avLst/>
              <a:gdLst>
                <a:gd name="connsiteX0" fmla="*/ 66455 w 66455"/>
                <a:gd name="connsiteY0" fmla="*/ 111720 h 131510"/>
                <a:gd name="connsiteX1" fmla="*/ 61343 w 66455"/>
                <a:gd name="connsiteY1" fmla="*/ 97037 h 131510"/>
                <a:gd name="connsiteX2" fmla="*/ 45369 w 66455"/>
                <a:gd name="connsiteY2" fmla="*/ 81077 h 131510"/>
                <a:gd name="connsiteX3" fmla="*/ 43452 w 66455"/>
                <a:gd name="connsiteY3" fmla="*/ 76608 h 131510"/>
                <a:gd name="connsiteX4" fmla="*/ 43452 w 66455"/>
                <a:gd name="connsiteY4" fmla="*/ 67670 h 131510"/>
                <a:gd name="connsiteX5" fmla="*/ 39618 w 66455"/>
                <a:gd name="connsiteY5" fmla="*/ 63840 h 131510"/>
                <a:gd name="connsiteX6" fmla="*/ 37701 w 66455"/>
                <a:gd name="connsiteY6" fmla="*/ 59371 h 131510"/>
                <a:gd name="connsiteX7" fmla="*/ 37701 w 66455"/>
                <a:gd name="connsiteY7" fmla="*/ 45965 h 131510"/>
                <a:gd name="connsiteX8" fmla="*/ 23643 w 66455"/>
                <a:gd name="connsiteY8" fmla="*/ 36389 h 131510"/>
                <a:gd name="connsiteX9" fmla="*/ 21087 w 66455"/>
                <a:gd name="connsiteY9" fmla="*/ 32558 h 131510"/>
                <a:gd name="connsiteX10" fmla="*/ 15975 w 66455"/>
                <a:gd name="connsiteY10" fmla="*/ 11491 h 131510"/>
                <a:gd name="connsiteX11" fmla="*/ 7029 w 66455"/>
                <a:gd name="connsiteY11" fmla="*/ 0 h 131510"/>
                <a:gd name="connsiteX12" fmla="*/ 0 w 66455"/>
                <a:gd name="connsiteY12" fmla="*/ 37027 h 131510"/>
                <a:gd name="connsiteX13" fmla="*/ 65816 w 66455"/>
                <a:gd name="connsiteY13" fmla="*/ 131510 h 131510"/>
                <a:gd name="connsiteX14" fmla="*/ 65816 w 66455"/>
                <a:gd name="connsiteY14" fmla="*/ 111720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55" h="131510">
                  <a:moveTo>
                    <a:pt x="66455" y="111720"/>
                  </a:moveTo>
                  <a:lnTo>
                    <a:pt x="61343" y="97037"/>
                  </a:lnTo>
                  <a:lnTo>
                    <a:pt x="45369" y="81077"/>
                  </a:lnTo>
                  <a:cubicBezTo>
                    <a:pt x="44091" y="79800"/>
                    <a:pt x="43452" y="78523"/>
                    <a:pt x="43452" y="76608"/>
                  </a:cubicBezTo>
                  <a:lnTo>
                    <a:pt x="43452" y="67670"/>
                  </a:lnTo>
                  <a:lnTo>
                    <a:pt x="39618" y="63840"/>
                  </a:lnTo>
                  <a:cubicBezTo>
                    <a:pt x="38340" y="62563"/>
                    <a:pt x="37701" y="61286"/>
                    <a:pt x="37701" y="59371"/>
                  </a:cubicBezTo>
                  <a:lnTo>
                    <a:pt x="37701" y="45965"/>
                  </a:lnTo>
                  <a:lnTo>
                    <a:pt x="23643" y="36389"/>
                  </a:lnTo>
                  <a:cubicBezTo>
                    <a:pt x="22365" y="35750"/>
                    <a:pt x="21087" y="34473"/>
                    <a:pt x="21087" y="32558"/>
                  </a:cubicBezTo>
                  <a:lnTo>
                    <a:pt x="15975" y="11491"/>
                  </a:lnTo>
                  <a:lnTo>
                    <a:pt x="7029" y="0"/>
                  </a:lnTo>
                  <a:cubicBezTo>
                    <a:pt x="2556" y="11491"/>
                    <a:pt x="0" y="24259"/>
                    <a:pt x="0" y="37027"/>
                  </a:cubicBezTo>
                  <a:cubicBezTo>
                    <a:pt x="0" y="79161"/>
                    <a:pt x="26838" y="116827"/>
                    <a:pt x="65816" y="131510"/>
                  </a:cubicBezTo>
                  <a:lnTo>
                    <a:pt x="65816" y="111720"/>
                  </a:lnTo>
                  <a:close/>
                </a:path>
              </a:pathLst>
            </a:custGeom>
            <a:solidFill>
              <a:srgbClr val="012169"/>
            </a:solidFill>
            <a:ln w="6390" cap="flat">
              <a:noFill/>
              <a:prstDash val="solid"/>
              <a:miter/>
            </a:ln>
          </p:spPr>
          <p:txBody>
            <a:bodyPr rtlCol="0" anchor="ctr"/>
            <a:lstStyle/>
            <a:p>
              <a:endParaRPr lang="en-US"/>
            </a:p>
          </p:txBody>
        </p:sp>
        <p:sp>
          <p:nvSpPr>
            <p:cNvPr id="163" name="Graphic 4">
              <a:extLst>
                <a:ext uri="{FF2B5EF4-FFF2-40B4-BE49-F238E27FC236}">
                  <a16:creationId xmlns:a16="http://schemas.microsoft.com/office/drawing/2014/main" id="{06523FCC-D69F-184B-6593-D366CF63F4F6}"/>
                </a:ext>
              </a:extLst>
            </p:cNvPr>
            <p:cNvSpPr/>
            <p:nvPr/>
          </p:nvSpPr>
          <p:spPr>
            <a:xfrm>
              <a:off x="998747" y="1979835"/>
              <a:ext cx="104155" cy="191519"/>
            </a:xfrm>
            <a:custGeom>
              <a:avLst/>
              <a:gdLst>
                <a:gd name="connsiteX0" fmla="*/ 14058 w 104155"/>
                <a:gd name="connsiteY0" fmla="*/ 61925 h 191519"/>
                <a:gd name="connsiteX1" fmla="*/ 15336 w 104155"/>
                <a:gd name="connsiteY1" fmla="*/ 64478 h 191519"/>
                <a:gd name="connsiteX2" fmla="*/ 20448 w 104155"/>
                <a:gd name="connsiteY2" fmla="*/ 84269 h 191519"/>
                <a:gd name="connsiteX3" fmla="*/ 35145 w 104155"/>
                <a:gd name="connsiteY3" fmla="*/ 93845 h 191519"/>
                <a:gd name="connsiteX4" fmla="*/ 37701 w 104155"/>
                <a:gd name="connsiteY4" fmla="*/ 98952 h 191519"/>
                <a:gd name="connsiteX5" fmla="*/ 37701 w 104155"/>
                <a:gd name="connsiteY5" fmla="*/ 112997 h 191519"/>
                <a:gd name="connsiteX6" fmla="*/ 41535 w 104155"/>
                <a:gd name="connsiteY6" fmla="*/ 116827 h 191519"/>
                <a:gd name="connsiteX7" fmla="*/ 43452 w 104155"/>
                <a:gd name="connsiteY7" fmla="*/ 121296 h 191519"/>
                <a:gd name="connsiteX8" fmla="*/ 43452 w 104155"/>
                <a:gd name="connsiteY8" fmla="*/ 129595 h 191519"/>
                <a:gd name="connsiteX9" fmla="*/ 58787 w 104155"/>
                <a:gd name="connsiteY9" fmla="*/ 144916 h 191519"/>
                <a:gd name="connsiteX10" fmla="*/ 60065 w 104155"/>
                <a:gd name="connsiteY10" fmla="*/ 147470 h 191519"/>
                <a:gd name="connsiteX11" fmla="*/ 65816 w 104155"/>
                <a:gd name="connsiteY11" fmla="*/ 164068 h 191519"/>
                <a:gd name="connsiteX12" fmla="*/ 65816 w 104155"/>
                <a:gd name="connsiteY12" fmla="*/ 165984 h 191519"/>
                <a:gd name="connsiteX13" fmla="*/ 65816 w 104155"/>
                <a:gd name="connsiteY13" fmla="*/ 190881 h 191519"/>
                <a:gd name="connsiteX14" fmla="*/ 69011 w 104155"/>
                <a:gd name="connsiteY14" fmla="*/ 191519 h 191519"/>
                <a:gd name="connsiteX15" fmla="*/ 81152 w 104155"/>
                <a:gd name="connsiteY15" fmla="*/ 174921 h 191519"/>
                <a:gd name="connsiteX16" fmla="*/ 81152 w 104155"/>
                <a:gd name="connsiteY16" fmla="*/ 165984 h 191519"/>
                <a:gd name="connsiteX17" fmla="*/ 83069 w 104155"/>
                <a:gd name="connsiteY17" fmla="*/ 161515 h 191519"/>
                <a:gd name="connsiteX18" fmla="*/ 88181 w 104155"/>
                <a:gd name="connsiteY18" fmla="*/ 156408 h 191519"/>
                <a:gd name="connsiteX19" fmla="*/ 93293 w 104155"/>
                <a:gd name="connsiteY19" fmla="*/ 146193 h 191519"/>
                <a:gd name="connsiteX20" fmla="*/ 94571 w 104155"/>
                <a:gd name="connsiteY20" fmla="*/ 144278 h 191519"/>
                <a:gd name="connsiteX21" fmla="*/ 99683 w 104155"/>
                <a:gd name="connsiteY21" fmla="*/ 139171 h 191519"/>
                <a:gd name="connsiteX22" fmla="*/ 104156 w 104155"/>
                <a:gd name="connsiteY22" fmla="*/ 130233 h 191519"/>
                <a:gd name="connsiteX23" fmla="*/ 104156 w 104155"/>
                <a:gd name="connsiteY23" fmla="*/ 130872 h 191519"/>
                <a:gd name="connsiteX24" fmla="*/ 100961 w 104155"/>
                <a:gd name="connsiteY24" fmla="*/ 127680 h 191519"/>
                <a:gd name="connsiteX25" fmla="*/ 90737 w 104155"/>
                <a:gd name="connsiteY25" fmla="*/ 122573 h 191519"/>
                <a:gd name="connsiteX26" fmla="*/ 88181 w 104155"/>
                <a:gd name="connsiteY26" fmla="*/ 120657 h 191519"/>
                <a:gd name="connsiteX27" fmla="*/ 78596 w 104155"/>
                <a:gd name="connsiteY27" fmla="*/ 105336 h 191519"/>
                <a:gd name="connsiteX28" fmla="*/ 64538 w 104155"/>
                <a:gd name="connsiteY28" fmla="*/ 100867 h 191519"/>
                <a:gd name="connsiteX29" fmla="*/ 48563 w 104155"/>
                <a:gd name="connsiteY29" fmla="*/ 100867 h 191519"/>
                <a:gd name="connsiteX30" fmla="*/ 44091 w 104155"/>
                <a:gd name="connsiteY30" fmla="*/ 98952 h 191519"/>
                <a:gd name="connsiteX31" fmla="*/ 27477 w 104155"/>
                <a:gd name="connsiteY31" fmla="*/ 82353 h 191519"/>
                <a:gd name="connsiteX32" fmla="*/ 25560 w 104155"/>
                <a:gd name="connsiteY32" fmla="*/ 77885 h 191519"/>
                <a:gd name="connsiteX33" fmla="*/ 25560 w 104155"/>
                <a:gd name="connsiteY33" fmla="*/ 72139 h 191519"/>
                <a:gd name="connsiteX34" fmla="*/ 30033 w 104155"/>
                <a:gd name="connsiteY34" fmla="*/ 65755 h 191519"/>
                <a:gd name="connsiteX35" fmla="*/ 45368 w 104155"/>
                <a:gd name="connsiteY35" fmla="*/ 60648 h 191519"/>
                <a:gd name="connsiteX36" fmla="*/ 54953 w 104155"/>
                <a:gd name="connsiteY36" fmla="*/ 51072 h 191519"/>
                <a:gd name="connsiteX37" fmla="*/ 65816 w 104155"/>
                <a:gd name="connsiteY37" fmla="*/ 34473 h 191519"/>
                <a:gd name="connsiteX38" fmla="*/ 66455 w 104155"/>
                <a:gd name="connsiteY38" fmla="*/ 33835 h 191519"/>
                <a:gd name="connsiteX39" fmla="*/ 70289 w 104155"/>
                <a:gd name="connsiteY39" fmla="*/ 30005 h 191519"/>
                <a:gd name="connsiteX40" fmla="*/ 70289 w 104155"/>
                <a:gd name="connsiteY40" fmla="*/ 26174 h 191519"/>
                <a:gd name="connsiteX41" fmla="*/ 57509 w 104155"/>
                <a:gd name="connsiteY41" fmla="*/ 22344 h 191519"/>
                <a:gd name="connsiteX42" fmla="*/ 53036 w 104155"/>
                <a:gd name="connsiteY42" fmla="*/ 15960 h 191519"/>
                <a:gd name="connsiteX43" fmla="*/ 53036 w 104155"/>
                <a:gd name="connsiteY43" fmla="*/ 4469 h 191519"/>
                <a:gd name="connsiteX44" fmla="*/ 54314 w 104155"/>
                <a:gd name="connsiteY44" fmla="*/ 1277 h 191519"/>
                <a:gd name="connsiteX45" fmla="*/ 54953 w 104155"/>
                <a:gd name="connsiteY45" fmla="*/ 0 h 191519"/>
                <a:gd name="connsiteX46" fmla="*/ 0 w 104155"/>
                <a:gd name="connsiteY46" fmla="*/ 45326 h 191519"/>
                <a:gd name="connsiteX47" fmla="*/ 14058 w 104155"/>
                <a:gd name="connsiteY47" fmla="*/ 61925 h 19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4155" h="191519">
                  <a:moveTo>
                    <a:pt x="14058" y="61925"/>
                  </a:moveTo>
                  <a:cubicBezTo>
                    <a:pt x="14697" y="62563"/>
                    <a:pt x="14697" y="63201"/>
                    <a:pt x="15336" y="64478"/>
                  </a:cubicBezTo>
                  <a:lnTo>
                    <a:pt x="20448" y="84269"/>
                  </a:lnTo>
                  <a:lnTo>
                    <a:pt x="35145" y="93845"/>
                  </a:lnTo>
                  <a:cubicBezTo>
                    <a:pt x="37062" y="95121"/>
                    <a:pt x="38340" y="97037"/>
                    <a:pt x="37701" y="98952"/>
                  </a:cubicBezTo>
                  <a:lnTo>
                    <a:pt x="37701" y="112997"/>
                  </a:lnTo>
                  <a:lnTo>
                    <a:pt x="41535" y="116827"/>
                  </a:lnTo>
                  <a:cubicBezTo>
                    <a:pt x="42813" y="118104"/>
                    <a:pt x="43452" y="119381"/>
                    <a:pt x="43452" y="121296"/>
                  </a:cubicBezTo>
                  <a:lnTo>
                    <a:pt x="43452" y="129595"/>
                  </a:lnTo>
                  <a:lnTo>
                    <a:pt x="58787" y="144916"/>
                  </a:lnTo>
                  <a:cubicBezTo>
                    <a:pt x="59426" y="145555"/>
                    <a:pt x="60065" y="146193"/>
                    <a:pt x="60065" y="147470"/>
                  </a:cubicBezTo>
                  <a:lnTo>
                    <a:pt x="65816" y="164068"/>
                  </a:lnTo>
                  <a:cubicBezTo>
                    <a:pt x="65816" y="164707"/>
                    <a:pt x="65816" y="165345"/>
                    <a:pt x="65816" y="165984"/>
                  </a:cubicBezTo>
                  <a:lnTo>
                    <a:pt x="65816" y="190881"/>
                  </a:lnTo>
                  <a:lnTo>
                    <a:pt x="69011" y="191519"/>
                  </a:lnTo>
                  <a:lnTo>
                    <a:pt x="81152" y="174921"/>
                  </a:lnTo>
                  <a:lnTo>
                    <a:pt x="81152" y="165984"/>
                  </a:lnTo>
                  <a:cubicBezTo>
                    <a:pt x="81152" y="164068"/>
                    <a:pt x="81791" y="162792"/>
                    <a:pt x="83069" y="161515"/>
                  </a:cubicBezTo>
                  <a:lnTo>
                    <a:pt x="88181" y="156408"/>
                  </a:lnTo>
                  <a:lnTo>
                    <a:pt x="93293" y="146193"/>
                  </a:lnTo>
                  <a:cubicBezTo>
                    <a:pt x="93293" y="145555"/>
                    <a:pt x="93932" y="144916"/>
                    <a:pt x="94571" y="144278"/>
                  </a:cubicBezTo>
                  <a:lnTo>
                    <a:pt x="99683" y="139171"/>
                  </a:lnTo>
                  <a:lnTo>
                    <a:pt x="104156" y="130233"/>
                  </a:lnTo>
                  <a:lnTo>
                    <a:pt x="104156" y="130872"/>
                  </a:lnTo>
                  <a:lnTo>
                    <a:pt x="100961" y="127680"/>
                  </a:lnTo>
                  <a:lnTo>
                    <a:pt x="90737" y="122573"/>
                  </a:lnTo>
                  <a:cubicBezTo>
                    <a:pt x="89459" y="121934"/>
                    <a:pt x="88820" y="121296"/>
                    <a:pt x="88181" y="120657"/>
                  </a:cubicBezTo>
                  <a:lnTo>
                    <a:pt x="78596" y="105336"/>
                  </a:lnTo>
                  <a:lnTo>
                    <a:pt x="64538" y="100867"/>
                  </a:lnTo>
                  <a:lnTo>
                    <a:pt x="48563" y="100867"/>
                  </a:lnTo>
                  <a:cubicBezTo>
                    <a:pt x="46647" y="100867"/>
                    <a:pt x="45368" y="100229"/>
                    <a:pt x="44091" y="98952"/>
                  </a:cubicBezTo>
                  <a:lnTo>
                    <a:pt x="27477" y="82353"/>
                  </a:lnTo>
                  <a:cubicBezTo>
                    <a:pt x="26199" y="81077"/>
                    <a:pt x="25560" y="79800"/>
                    <a:pt x="25560" y="77885"/>
                  </a:cubicBezTo>
                  <a:lnTo>
                    <a:pt x="25560" y="72139"/>
                  </a:lnTo>
                  <a:cubicBezTo>
                    <a:pt x="25560" y="69585"/>
                    <a:pt x="27477" y="67032"/>
                    <a:pt x="30033" y="65755"/>
                  </a:cubicBezTo>
                  <a:lnTo>
                    <a:pt x="45368" y="60648"/>
                  </a:lnTo>
                  <a:lnTo>
                    <a:pt x="54953" y="51072"/>
                  </a:lnTo>
                  <a:lnTo>
                    <a:pt x="65816" y="34473"/>
                  </a:lnTo>
                  <a:lnTo>
                    <a:pt x="66455" y="33835"/>
                  </a:lnTo>
                  <a:lnTo>
                    <a:pt x="70289" y="30005"/>
                  </a:lnTo>
                  <a:lnTo>
                    <a:pt x="70289" y="26174"/>
                  </a:lnTo>
                  <a:lnTo>
                    <a:pt x="57509" y="22344"/>
                  </a:lnTo>
                  <a:cubicBezTo>
                    <a:pt x="54953" y="21706"/>
                    <a:pt x="53036" y="19152"/>
                    <a:pt x="53036" y="15960"/>
                  </a:cubicBezTo>
                  <a:lnTo>
                    <a:pt x="53036" y="4469"/>
                  </a:lnTo>
                  <a:cubicBezTo>
                    <a:pt x="53036" y="3192"/>
                    <a:pt x="53675" y="1915"/>
                    <a:pt x="54314" y="1277"/>
                  </a:cubicBezTo>
                  <a:lnTo>
                    <a:pt x="54953" y="0"/>
                  </a:lnTo>
                  <a:cubicBezTo>
                    <a:pt x="31950" y="7661"/>
                    <a:pt x="12141" y="24259"/>
                    <a:pt x="0" y="45326"/>
                  </a:cubicBezTo>
                  <a:lnTo>
                    <a:pt x="14058" y="61925"/>
                  </a:lnTo>
                  <a:close/>
                </a:path>
              </a:pathLst>
            </a:custGeom>
            <a:solidFill>
              <a:srgbClr val="012169"/>
            </a:solidFill>
            <a:ln w="6390" cap="flat">
              <a:noFill/>
              <a:prstDash val="solid"/>
              <a:miter/>
            </a:ln>
          </p:spPr>
          <p:txBody>
            <a:bodyPr rtlCol="0" anchor="ctr"/>
            <a:lstStyle/>
            <a:p>
              <a:endParaRPr lang="en-US"/>
            </a:p>
          </p:txBody>
        </p:sp>
        <p:sp>
          <p:nvSpPr>
            <p:cNvPr id="164" name="Graphic 4">
              <a:extLst>
                <a:ext uri="{FF2B5EF4-FFF2-40B4-BE49-F238E27FC236}">
                  <a16:creationId xmlns:a16="http://schemas.microsoft.com/office/drawing/2014/main" id="{F2E8C957-E39C-3371-16CB-B27DBADEE9C8}"/>
                </a:ext>
              </a:extLst>
            </p:cNvPr>
            <p:cNvSpPr/>
            <p:nvPr/>
          </p:nvSpPr>
          <p:spPr>
            <a:xfrm>
              <a:off x="1132296" y="1986219"/>
              <a:ext cx="55592" cy="137255"/>
            </a:xfrm>
            <a:custGeom>
              <a:avLst/>
              <a:gdLst>
                <a:gd name="connsiteX0" fmla="*/ 38979 w 55592"/>
                <a:gd name="connsiteY0" fmla="*/ 54902 h 137255"/>
                <a:gd name="connsiteX1" fmla="*/ 34506 w 55592"/>
                <a:gd name="connsiteY1" fmla="*/ 52987 h 137255"/>
                <a:gd name="connsiteX2" fmla="*/ 28755 w 55592"/>
                <a:gd name="connsiteY2" fmla="*/ 47241 h 137255"/>
                <a:gd name="connsiteX3" fmla="*/ 27477 w 55592"/>
                <a:gd name="connsiteY3" fmla="*/ 40857 h 137255"/>
                <a:gd name="connsiteX4" fmla="*/ 32589 w 55592"/>
                <a:gd name="connsiteY4" fmla="*/ 24897 h 137255"/>
                <a:gd name="connsiteX5" fmla="*/ 2556 w 55592"/>
                <a:gd name="connsiteY5" fmla="*/ 0 h 137255"/>
                <a:gd name="connsiteX6" fmla="*/ 0 w 55592"/>
                <a:gd name="connsiteY6" fmla="*/ 5107 h 137255"/>
                <a:gd name="connsiteX7" fmla="*/ 7668 w 55592"/>
                <a:gd name="connsiteY7" fmla="*/ 8938 h 137255"/>
                <a:gd name="connsiteX8" fmla="*/ 9585 w 55592"/>
                <a:gd name="connsiteY8" fmla="*/ 10214 h 137255"/>
                <a:gd name="connsiteX9" fmla="*/ 15336 w 55592"/>
                <a:gd name="connsiteY9" fmla="*/ 15960 h 137255"/>
                <a:gd name="connsiteX10" fmla="*/ 17253 w 55592"/>
                <a:gd name="connsiteY10" fmla="*/ 20429 h 137255"/>
                <a:gd name="connsiteX11" fmla="*/ 17253 w 55592"/>
                <a:gd name="connsiteY11" fmla="*/ 31920 h 137255"/>
                <a:gd name="connsiteX12" fmla="*/ 16614 w 55592"/>
                <a:gd name="connsiteY12" fmla="*/ 35112 h 137255"/>
                <a:gd name="connsiteX13" fmla="*/ 12780 w 55592"/>
                <a:gd name="connsiteY13" fmla="*/ 42773 h 137255"/>
                <a:gd name="connsiteX14" fmla="*/ 16614 w 55592"/>
                <a:gd name="connsiteY14" fmla="*/ 42773 h 137255"/>
                <a:gd name="connsiteX15" fmla="*/ 21087 w 55592"/>
                <a:gd name="connsiteY15" fmla="*/ 44688 h 137255"/>
                <a:gd name="connsiteX16" fmla="*/ 26838 w 55592"/>
                <a:gd name="connsiteY16" fmla="*/ 50433 h 137255"/>
                <a:gd name="connsiteX17" fmla="*/ 28116 w 55592"/>
                <a:gd name="connsiteY17" fmla="*/ 57456 h 137255"/>
                <a:gd name="connsiteX18" fmla="*/ 22365 w 55592"/>
                <a:gd name="connsiteY18" fmla="*/ 68947 h 137255"/>
                <a:gd name="connsiteX19" fmla="*/ 21087 w 55592"/>
                <a:gd name="connsiteY19" fmla="*/ 70862 h 137255"/>
                <a:gd name="connsiteX20" fmla="*/ 17253 w 55592"/>
                <a:gd name="connsiteY20" fmla="*/ 74693 h 137255"/>
                <a:gd name="connsiteX21" fmla="*/ 17253 w 55592"/>
                <a:gd name="connsiteY21" fmla="*/ 84907 h 137255"/>
                <a:gd name="connsiteX22" fmla="*/ 24921 w 55592"/>
                <a:gd name="connsiteY22" fmla="*/ 88737 h 137255"/>
                <a:gd name="connsiteX23" fmla="*/ 26838 w 55592"/>
                <a:gd name="connsiteY23" fmla="*/ 90014 h 137255"/>
                <a:gd name="connsiteX24" fmla="*/ 30672 w 55592"/>
                <a:gd name="connsiteY24" fmla="*/ 93845 h 137255"/>
                <a:gd name="connsiteX25" fmla="*/ 33867 w 55592"/>
                <a:gd name="connsiteY25" fmla="*/ 93845 h 137255"/>
                <a:gd name="connsiteX26" fmla="*/ 38340 w 55592"/>
                <a:gd name="connsiteY26" fmla="*/ 95760 h 137255"/>
                <a:gd name="connsiteX27" fmla="*/ 44091 w 55592"/>
                <a:gd name="connsiteY27" fmla="*/ 101505 h 137255"/>
                <a:gd name="connsiteX28" fmla="*/ 45369 w 55592"/>
                <a:gd name="connsiteY28" fmla="*/ 107889 h 137255"/>
                <a:gd name="connsiteX29" fmla="*/ 40257 w 55592"/>
                <a:gd name="connsiteY29" fmla="*/ 123849 h 137255"/>
                <a:gd name="connsiteX30" fmla="*/ 40257 w 55592"/>
                <a:gd name="connsiteY30" fmla="*/ 132149 h 137255"/>
                <a:gd name="connsiteX31" fmla="*/ 43452 w 55592"/>
                <a:gd name="connsiteY31" fmla="*/ 137256 h 137255"/>
                <a:gd name="connsiteX32" fmla="*/ 55592 w 55592"/>
                <a:gd name="connsiteY32" fmla="*/ 89376 h 137255"/>
                <a:gd name="connsiteX33" fmla="*/ 49842 w 55592"/>
                <a:gd name="connsiteY33" fmla="*/ 56179 h 137255"/>
                <a:gd name="connsiteX34" fmla="*/ 38979 w 55592"/>
                <a:gd name="connsiteY34" fmla="*/ 56179 h 13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592" h="137255">
                  <a:moveTo>
                    <a:pt x="38979" y="54902"/>
                  </a:moveTo>
                  <a:cubicBezTo>
                    <a:pt x="37062" y="54902"/>
                    <a:pt x="35784" y="54264"/>
                    <a:pt x="34506" y="52987"/>
                  </a:cubicBezTo>
                  <a:lnTo>
                    <a:pt x="28755" y="47241"/>
                  </a:lnTo>
                  <a:cubicBezTo>
                    <a:pt x="26838" y="45326"/>
                    <a:pt x="26199" y="43411"/>
                    <a:pt x="27477" y="40857"/>
                  </a:cubicBezTo>
                  <a:lnTo>
                    <a:pt x="32589" y="24897"/>
                  </a:lnTo>
                  <a:cubicBezTo>
                    <a:pt x="24282" y="14683"/>
                    <a:pt x="14058" y="6384"/>
                    <a:pt x="2556" y="0"/>
                  </a:cubicBezTo>
                  <a:lnTo>
                    <a:pt x="0" y="5107"/>
                  </a:lnTo>
                  <a:lnTo>
                    <a:pt x="7668" y="8938"/>
                  </a:lnTo>
                  <a:cubicBezTo>
                    <a:pt x="8307" y="8938"/>
                    <a:pt x="8946" y="9576"/>
                    <a:pt x="9585" y="10214"/>
                  </a:cubicBezTo>
                  <a:lnTo>
                    <a:pt x="15336" y="15960"/>
                  </a:lnTo>
                  <a:cubicBezTo>
                    <a:pt x="16614" y="17237"/>
                    <a:pt x="17253" y="18514"/>
                    <a:pt x="17253" y="20429"/>
                  </a:cubicBezTo>
                  <a:lnTo>
                    <a:pt x="17253" y="31920"/>
                  </a:lnTo>
                  <a:cubicBezTo>
                    <a:pt x="17253" y="33197"/>
                    <a:pt x="17253" y="33835"/>
                    <a:pt x="16614" y="35112"/>
                  </a:cubicBezTo>
                  <a:lnTo>
                    <a:pt x="12780" y="42773"/>
                  </a:lnTo>
                  <a:lnTo>
                    <a:pt x="16614" y="42773"/>
                  </a:lnTo>
                  <a:cubicBezTo>
                    <a:pt x="18531" y="42773"/>
                    <a:pt x="19809" y="43411"/>
                    <a:pt x="21087" y="44688"/>
                  </a:cubicBezTo>
                  <a:lnTo>
                    <a:pt x="26838" y="50433"/>
                  </a:lnTo>
                  <a:cubicBezTo>
                    <a:pt x="28755" y="52349"/>
                    <a:pt x="29394" y="55541"/>
                    <a:pt x="28116" y="57456"/>
                  </a:cubicBezTo>
                  <a:lnTo>
                    <a:pt x="22365" y="68947"/>
                  </a:lnTo>
                  <a:cubicBezTo>
                    <a:pt x="22365" y="69585"/>
                    <a:pt x="21726" y="70224"/>
                    <a:pt x="21087" y="70862"/>
                  </a:cubicBezTo>
                  <a:lnTo>
                    <a:pt x="17253" y="74693"/>
                  </a:lnTo>
                  <a:lnTo>
                    <a:pt x="17253" y="84907"/>
                  </a:lnTo>
                  <a:lnTo>
                    <a:pt x="24921" y="88737"/>
                  </a:lnTo>
                  <a:cubicBezTo>
                    <a:pt x="25560" y="89376"/>
                    <a:pt x="26199" y="89376"/>
                    <a:pt x="26838" y="90014"/>
                  </a:cubicBezTo>
                  <a:lnTo>
                    <a:pt x="30672" y="93845"/>
                  </a:lnTo>
                  <a:lnTo>
                    <a:pt x="33867" y="93845"/>
                  </a:lnTo>
                  <a:cubicBezTo>
                    <a:pt x="35784" y="93845"/>
                    <a:pt x="37062" y="94483"/>
                    <a:pt x="38340" y="95760"/>
                  </a:cubicBezTo>
                  <a:lnTo>
                    <a:pt x="44091" y="101505"/>
                  </a:lnTo>
                  <a:cubicBezTo>
                    <a:pt x="46008" y="103421"/>
                    <a:pt x="46647" y="105336"/>
                    <a:pt x="45369" y="107889"/>
                  </a:cubicBezTo>
                  <a:lnTo>
                    <a:pt x="40257" y="123849"/>
                  </a:lnTo>
                  <a:lnTo>
                    <a:pt x="40257" y="132149"/>
                  </a:lnTo>
                  <a:lnTo>
                    <a:pt x="43452" y="137256"/>
                  </a:lnTo>
                  <a:cubicBezTo>
                    <a:pt x="51759" y="122573"/>
                    <a:pt x="55592" y="105974"/>
                    <a:pt x="55592" y="89376"/>
                  </a:cubicBezTo>
                  <a:cubicBezTo>
                    <a:pt x="55592" y="77885"/>
                    <a:pt x="53676" y="67032"/>
                    <a:pt x="49842" y="56179"/>
                  </a:cubicBezTo>
                  <a:lnTo>
                    <a:pt x="38979" y="56179"/>
                  </a:lnTo>
                  <a:close/>
                </a:path>
              </a:pathLst>
            </a:custGeom>
            <a:solidFill>
              <a:srgbClr val="012169"/>
            </a:solidFill>
            <a:ln w="6390" cap="flat">
              <a:noFill/>
              <a:prstDash val="solid"/>
              <a:miter/>
            </a:ln>
          </p:spPr>
          <p:txBody>
            <a:bodyPr rtlCol="0" anchor="ctr"/>
            <a:lstStyle/>
            <a:p>
              <a:endParaRPr lang="en-US"/>
            </a:p>
          </p:txBody>
        </p:sp>
        <p:sp>
          <p:nvSpPr>
            <p:cNvPr id="165" name="Graphic 4">
              <a:extLst>
                <a:ext uri="{FF2B5EF4-FFF2-40B4-BE49-F238E27FC236}">
                  <a16:creationId xmlns:a16="http://schemas.microsoft.com/office/drawing/2014/main" id="{E619C2E1-0329-03B5-6219-3A651A06B118}"/>
                </a:ext>
              </a:extLst>
            </p:cNvPr>
            <p:cNvSpPr/>
            <p:nvPr/>
          </p:nvSpPr>
          <p:spPr>
            <a:xfrm>
              <a:off x="1037725" y="1972813"/>
              <a:ext cx="129076" cy="203010"/>
            </a:xfrm>
            <a:custGeom>
              <a:avLst/>
              <a:gdLst>
                <a:gd name="connsiteX0" fmla="*/ 122687 w 129076"/>
                <a:gd name="connsiteY0" fmla="*/ 150024 h 203010"/>
                <a:gd name="connsiteX1" fmla="*/ 121409 w 129076"/>
                <a:gd name="connsiteY1" fmla="*/ 146193 h 203010"/>
                <a:gd name="connsiteX2" fmla="*/ 121409 w 129076"/>
                <a:gd name="connsiteY2" fmla="*/ 134702 h 203010"/>
                <a:gd name="connsiteX3" fmla="*/ 122048 w 129076"/>
                <a:gd name="connsiteY3" fmla="*/ 132787 h 203010"/>
                <a:gd name="connsiteX4" fmla="*/ 126521 w 129076"/>
                <a:gd name="connsiteY4" fmla="*/ 119381 h 203010"/>
                <a:gd name="connsiteX5" fmla="*/ 125243 w 129076"/>
                <a:gd name="connsiteY5" fmla="*/ 118742 h 203010"/>
                <a:gd name="connsiteX6" fmla="*/ 122048 w 129076"/>
                <a:gd name="connsiteY6" fmla="*/ 118742 h 203010"/>
                <a:gd name="connsiteX7" fmla="*/ 117575 w 129076"/>
                <a:gd name="connsiteY7" fmla="*/ 116827 h 203010"/>
                <a:gd name="connsiteX8" fmla="*/ 112463 w 129076"/>
                <a:gd name="connsiteY8" fmla="*/ 112358 h 203010"/>
                <a:gd name="connsiteX9" fmla="*/ 102239 w 129076"/>
                <a:gd name="connsiteY9" fmla="*/ 107251 h 203010"/>
                <a:gd name="connsiteX10" fmla="*/ 98405 w 129076"/>
                <a:gd name="connsiteY10" fmla="*/ 101505 h 203010"/>
                <a:gd name="connsiteX11" fmla="*/ 98405 w 129076"/>
                <a:gd name="connsiteY11" fmla="*/ 84269 h 203010"/>
                <a:gd name="connsiteX12" fmla="*/ 100322 w 129076"/>
                <a:gd name="connsiteY12" fmla="*/ 79800 h 203010"/>
                <a:gd name="connsiteX13" fmla="*/ 105434 w 129076"/>
                <a:gd name="connsiteY13" fmla="*/ 74693 h 203010"/>
                <a:gd name="connsiteX14" fmla="*/ 108629 w 129076"/>
                <a:gd name="connsiteY14" fmla="*/ 68309 h 203010"/>
                <a:gd name="connsiteX15" fmla="*/ 107990 w 129076"/>
                <a:gd name="connsiteY15" fmla="*/ 67670 h 203010"/>
                <a:gd name="connsiteX16" fmla="*/ 99683 w 129076"/>
                <a:gd name="connsiteY16" fmla="*/ 67670 h 203010"/>
                <a:gd name="connsiteX17" fmla="*/ 93293 w 129076"/>
                <a:gd name="connsiteY17" fmla="*/ 61286 h 203010"/>
                <a:gd name="connsiteX18" fmla="*/ 93293 w 129076"/>
                <a:gd name="connsiteY18" fmla="*/ 55541 h 203010"/>
                <a:gd name="connsiteX19" fmla="*/ 93932 w 129076"/>
                <a:gd name="connsiteY19" fmla="*/ 52987 h 203010"/>
                <a:gd name="connsiteX20" fmla="*/ 99044 w 129076"/>
                <a:gd name="connsiteY20" fmla="*/ 42773 h 203010"/>
                <a:gd name="connsiteX21" fmla="*/ 99044 w 129076"/>
                <a:gd name="connsiteY21" fmla="*/ 35750 h 203010"/>
                <a:gd name="connsiteX22" fmla="*/ 95849 w 129076"/>
                <a:gd name="connsiteY22" fmla="*/ 32558 h 203010"/>
                <a:gd name="connsiteX23" fmla="*/ 85625 w 129076"/>
                <a:gd name="connsiteY23" fmla="*/ 27451 h 203010"/>
                <a:gd name="connsiteX24" fmla="*/ 81791 w 129076"/>
                <a:gd name="connsiteY24" fmla="*/ 21706 h 203010"/>
                <a:gd name="connsiteX25" fmla="*/ 81791 w 129076"/>
                <a:gd name="connsiteY25" fmla="*/ 16598 h 203010"/>
                <a:gd name="connsiteX26" fmla="*/ 82430 w 129076"/>
                <a:gd name="connsiteY26" fmla="*/ 13406 h 203010"/>
                <a:gd name="connsiteX27" fmla="*/ 85625 w 129076"/>
                <a:gd name="connsiteY27" fmla="*/ 7022 h 203010"/>
                <a:gd name="connsiteX28" fmla="*/ 48564 w 129076"/>
                <a:gd name="connsiteY28" fmla="*/ 0 h 203010"/>
                <a:gd name="connsiteX29" fmla="*/ 34506 w 129076"/>
                <a:gd name="connsiteY29" fmla="*/ 1277 h 203010"/>
                <a:gd name="connsiteX30" fmla="*/ 26838 w 129076"/>
                <a:gd name="connsiteY30" fmla="*/ 12768 h 203010"/>
                <a:gd name="connsiteX31" fmla="*/ 26838 w 129076"/>
                <a:gd name="connsiteY31" fmla="*/ 17237 h 203010"/>
                <a:gd name="connsiteX32" fmla="*/ 39618 w 129076"/>
                <a:gd name="connsiteY32" fmla="*/ 21067 h 203010"/>
                <a:gd name="connsiteX33" fmla="*/ 44091 w 129076"/>
                <a:gd name="connsiteY33" fmla="*/ 27451 h 203010"/>
                <a:gd name="connsiteX34" fmla="*/ 44091 w 129076"/>
                <a:gd name="connsiteY34" fmla="*/ 38942 h 203010"/>
                <a:gd name="connsiteX35" fmla="*/ 42174 w 129076"/>
                <a:gd name="connsiteY35" fmla="*/ 43411 h 203010"/>
                <a:gd name="connsiteX36" fmla="*/ 37062 w 129076"/>
                <a:gd name="connsiteY36" fmla="*/ 48518 h 203010"/>
                <a:gd name="connsiteX37" fmla="*/ 26199 w 129076"/>
                <a:gd name="connsiteY37" fmla="*/ 65117 h 203010"/>
                <a:gd name="connsiteX38" fmla="*/ 25560 w 129076"/>
                <a:gd name="connsiteY38" fmla="*/ 65755 h 203010"/>
                <a:gd name="connsiteX39" fmla="*/ 14058 w 129076"/>
                <a:gd name="connsiteY39" fmla="*/ 77246 h 203010"/>
                <a:gd name="connsiteX40" fmla="*/ 11502 w 129076"/>
                <a:gd name="connsiteY40" fmla="*/ 78523 h 203010"/>
                <a:gd name="connsiteX41" fmla="*/ 0 w 129076"/>
                <a:gd name="connsiteY41" fmla="*/ 82353 h 203010"/>
                <a:gd name="connsiteX42" fmla="*/ 12141 w 129076"/>
                <a:gd name="connsiteY42" fmla="*/ 94483 h 203010"/>
                <a:gd name="connsiteX43" fmla="*/ 26199 w 129076"/>
                <a:gd name="connsiteY43" fmla="*/ 94483 h 203010"/>
                <a:gd name="connsiteX44" fmla="*/ 28116 w 129076"/>
                <a:gd name="connsiteY44" fmla="*/ 94483 h 203010"/>
                <a:gd name="connsiteX45" fmla="*/ 44730 w 129076"/>
                <a:gd name="connsiteY45" fmla="*/ 100229 h 203010"/>
                <a:gd name="connsiteX46" fmla="*/ 47925 w 129076"/>
                <a:gd name="connsiteY46" fmla="*/ 102782 h 203010"/>
                <a:gd name="connsiteX47" fmla="*/ 58148 w 129076"/>
                <a:gd name="connsiteY47" fmla="*/ 118104 h 203010"/>
                <a:gd name="connsiteX48" fmla="*/ 67733 w 129076"/>
                <a:gd name="connsiteY48" fmla="*/ 123211 h 203010"/>
                <a:gd name="connsiteX49" fmla="*/ 69650 w 129076"/>
                <a:gd name="connsiteY49" fmla="*/ 124488 h 203010"/>
                <a:gd name="connsiteX50" fmla="*/ 75401 w 129076"/>
                <a:gd name="connsiteY50" fmla="*/ 130233 h 203010"/>
                <a:gd name="connsiteX51" fmla="*/ 77318 w 129076"/>
                <a:gd name="connsiteY51" fmla="*/ 134702 h 203010"/>
                <a:gd name="connsiteX52" fmla="*/ 77318 w 129076"/>
                <a:gd name="connsiteY52" fmla="*/ 140448 h 203010"/>
                <a:gd name="connsiteX53" fmla="*/ 76679 w 129076"/>
                <a:gd name="connsiteY53" fmla="*/ 143640 h 203010"/>
                <a:gd name="connsiteX54" fmla="*/ 70928 w 129076"/>
                <a:gd name="connsiteY54" fmla="*/ 155131 h 203010"/>
                <a:gd name="connsiteX55" fmla="*/ 69650 w 129076"/>
                <a:gd name="connsiteY55" fmla="*/ 157046 h 203010"/>
                <a:gd name="connsiteX56" fmla="*/ 64538 w 129076"/>
                <a:gd name="connsiteY56" fmla="*/ 162153 h 203010"/>
                <a:gd name="connsiteX57" fmla="*/ 59426 w 129076"/>
                <a:gd name="connsiteY57" fmla="*/ 172368 h 203010"/>
                <a:gd name="connsiteX58" fmla="*/ 58148 w 129076"/>
                <a:gd name="connsiteY58" fmla="*/ 174283 h 203010"/>
                <a:gd name="connsiteX59" fmla="*/ 54314 w 129076"/>
                <a:gd name="connsiteY59" fmla="*/ 178113 h 203010"/>
                <a:gd name="connsiteX60" fmla="*/ 54314 w 129076"/>
                <a:gd name="connsiteY60" fmla="*/ 187051 h 203010"/>
                <a:gd name="connsiteX61" fmla="*/ 53036 w 129076"/>
                <a:gd name="connsiteY61" fmla="*/ 190881 h 203010"/>
                <a:gd name="connsiteX62" fmla="*/ 44091 w 129076"/>
                <a:gd name="connsiteY62" fmla="*/ 203011 h 203010"/>
                <a:gd name="connsiteX63" fmla="*/ 47925 w 129076"/>
                <a:gd name="connsiteY63" fmla="*/ 203011 h 203010"/>
                <a:gd name="connsiteX64" fmla="*/ 129077 w 129076"/>
                <a:gd name="connsiteY64" fmla="*/ 162153 h 203010"/>
                <a:gd name="connsiteX65" fmla="*/ 122687 w 129076"/>
                <a:gd name="connsiteY65" fmla="*/ 150024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9076" h="203010">
                  <a:moveTo>
                    <a:pt x="122687" y="150024"/>
                  </a:moveTo>
                  <a:cubicBezTo>
                    <a:pt x="122048" y="148747"/>
                    <a:pt x="121409" y="147470"/>
                    <a:pt x="121409" y="146193"/>
                  </a:cubicBezTo>
                  <a:lnTo>
                    <a:pt x="121409" y="134702"/>
                  </a:lnTo>
                  <a:cubicBezTo>
                    <a:pt x="121409" y="134064"/>
                    <a:pt x="121409" y="133425"/>
                    <a:pt x="122048" y="132787"/>
                  </a:cubicBezTo>
                  <a:lnTo>
                    <a:pt x="126521" y="119381"/>
                  </a:lnTo>
                  <a:lnTo>
                    <a:pt x="125243" y="118742"/>
                  </a:lnTo>
                  <a:lnTo>
                    <a:pt x="122048" y="118742"/>
                  </a:lnTo>
                  <a:cubicBezTo>
                    <a:pt x="120131" y="118742"/>
                    <a:pt x="118853" y="118104"/>
                    <a:pt x="117575" y="116827"/>
                  </a:cubicBezTo>
                  <a:lnTo>
                    <a:pt x="112463" y="112358"/>
                  </a:lnTo>
                  <a:lnTo>
                    <a:pt x="102239" y="107251"/>
                  </a:lnTo>
                  <a:cubicBezTo>
                    <a:pt x="100322" y="105974"/>
                    <a:pt x="98405" y="104059"/>
                    <a:pt x="98405" y="101505"/>
                  </a:cubicBezTo>
                  <a:lnTo>
                    <a:pt x="98405" y="84269"/>
                  </a:lnTo>
                  <a:cubicBezTo>
                    <a:pt x="98405" y="82353"/>
                    <a:pt x="99044" y="81077"/>
                    <a:pt x="100322" y="79800"/>
                  </a:cubicBezTo>
                  <a:lnTo>
                    <a:pt x="105434" y="74693"/>
                  </a:lnTo>
                  <a:lnTo>
                    <a:pt x="108629" y="68309"/>
                  </a:lnTo>
                  <a:lnTo>
                    <a:pt x="107990" y="67670"/>
                  </a:lnTo>
                  <a:lnTo>
                    <a:pt x="99683" y="67670"/>
                  </a:lnTo>
                  <a:cubicBezTo>
                    <a:pt x="95849" y="67670"/>
                    <a:pt x="93293" y="65117"/>
                    <a:pt x="93293" y="61286"/>
                  </a:cubicBezTo>
                  <a:lnTo>
                    <a:pt x="93293" y="55541"/>
                  </a:lnTo>
                  <a:cubicBezTo>
                    <a:pt x="93293" y="54264"/>
                    <a:pt x="93293" y="53625"/>
                    <a:pt x="93932" y="52987"/>
                  </a:cubicBezTo>
                  <a:lnTo>
                    <a:pt x="99044" y="42773"/>
                  </a:lnTo>
                  <a:lnTo>
                    <a:pt x="99044" y="35750"/>
                  </a:lnTo>
                  <a:lnTo>
                    <a:pt x="95849" y="32558"/>
                  </a:lnTo>
                  <a:lnTo>
                    <a:pt x="85625" y="27451"/>
                  </a:lnTo>
                  <a:cubicBezTo>
                    <a:pt x="83708" y="26174"/>
                    <a:pt x="82430" y="24259"/>
                    <a:pt x="81791" y="21706"/>
                  </a:cubicBezTo>
                  <a:lnTo>
                    <a:pt x="81791" y="16598"/>
                  </a:lnTo>
                  <a:cubicBezTo>
                    <a:pt x="81791" y="15322"/>
                    <a:pt x="81791" y="14683"/>
                    <a:pt x="82430" y="13406"/>
                  </a:cubicBezTo>
                  <a:lnTo>
                    <a:pt x="85625" y="7022"/>
                  </a:lnTo>
                  <a:cubicBezTo>
                    <a:pt x="74123" y="2554"/>
                    <a:pt x="61343" y="0"/>
                    <a:pt x="48564" y="0"/>
                  </a:cubicBezTo>
                  <a:cubicBezTo>
                    <a:pt x="44091" y="0"/>
                    <a:pt x="38979" y="638"/>
                    <a:pt x="34506" y="1277"/>
                  </a:cubicBezTo>
                  <a:lnTo>
                    <a:pt x="26838" y="12768"/>
                  </a:lnTo>
                  <a:lnTo>
                    <a:pt x="26838" y="17237"/>
                  </a:lnTo>
                  <a:lnTo>
                    <a:pt x="39618" y="21067"/>
                  </a:lnTo>
                  <a:cubicBezTo>
                    <a:pt x="42174" y="21706"/>
                    <a:pt x="44091" y="24259"/>
                    <a:pt x="44091" y="27451"/>
                  </a:cubicBezTo>
                  <a:lnTo>
                    <a:pt x="44091" y="38942"/>
                  </a:lnTo>
                  <a:cubicBezTo>
                    <a:pt x="44091" y="40857"/>
                    <a:pt x="43452" y="42134"/>
                    <a:pt x="42174" y="43411"/>
                  </a:cubicBezTo>
                  <a:lnTo>
                    <a:pt x="37062" y="48518"/>
                  </a:lnTo>
                  <a:lnTo>
                    <a:pt x="26199" y="65117"/>
                  </a:lnTo>
                  <a:lnTo>
                    <a:pt x="25560" y="65755"/>
                  </a:lnTo>
                  <a:lnTo>
                    <a:pt x="14058" y="77246"/>
                  </a:lnTo>
                  <a:cubicBezTo>
                    <a:pt x="13419" y="77885"/>
                    <a:pt x="12780" y="78523"/>
                    <a:pt x="11502" y="78523"/>
                  </a:cubicBezTo>
                  <a:lnTo>
                    <a:pt x="0" y="82353"/>
                  </a:lnTo>
                  <a:lnTo>
                    <a:pt x="12141" y="94483"/>
                  </a:lnTo>
                  <a:lnTo>
                    <a:pt x="26199" y="94483"/>
                  </a:lnTo>
                  <a:cubicBezTo>
                    <a:pt x="26838" y="94483"/>
                    <a:pt x="27477" y="94483"/>
                    <a:pt x="28116" y="94483"/>
                  </a:cubicBezTo>
                  <a:lnTo>
                    <a:pt x="44730" y="100229"/>
                  </a:lnTo>
                  <a:cubicBezTo>
                    <a:pt x="46008" y="100867"/>
                    <a:pt x="47286" y="101505"/>
                    <a:pt x="47925" y="102782"/>
                  </a:cubicBezTo>
                  <a:lnTo>
                    <a:pt x="58148" y="118104"/>
                  </a:lnTo>
                  <a:lnTo>
                    <a:pt x="67733" y="123211"/>
                  </a:lnTo>
                  <a:cubicBezTo>
                    <a:pt x="68372" y="123211"/>
                    <a:pt x="69011" y="123849"/>
                    <a:pt x="69650" y="124488"/>
                  </a:cubicBezTo>
                  <a:lnTo>
                    <a:pt x="75401" y="130233"/>
                  </a:lnTo>
                  <a:cubicBezTo>
                    <a:pt x="76679" y="131510"/>
                    <a:pt x="77318" y="132787"/>
                    <a:pt x="77318" y="134702"/>
                  </a:cubicBezTo>
                  <a:lnTo>
                    <a:pt x="77318" y="140448"/>
                  </a:lnTo>
                  <a:cubicBezTo>
                    <a:pt x="77318" y="141724"/>
                    <a:pt x="77318" y="142363"/>
                    <a:pt x="76679" y="143640"/>
                  </a:cubicBezTo>
                  <a:lnTo>
                    <a:pt x="70928" y="155131"/>
                  </a:lnTo>
                  <a:cubicBezTo>
                    <a:pt x="70928" y="155769"/>
                    <a:pt x="70289" y="156408"/>
                    <a:pt x="69650" y="157046"/>
                  </a:cubicBezTo>
                  <a:lnTo>
                    <a:pt x="64538" y="162153"/>
                  </a:lnTo>
                  <a:lnTo>
                    <a:pt x="59426" y="172368"/>
                  </a:lnTo>
                  <a:cubicBezTo>
                    <a:pt x="58788" y="173006"/>
                    <a:pt x="58788" y="173644"/>
                    <a:pt x="58148" y="174283"/>
                  </a:cubicBezTo>
                  <a:lnTo>
                    <a:pt x="54314" y="178113"/>
                  </a:lnTo>
                  <a:lnTo>
                    <a:pt x="54314" y="187051"/>
                  </a:lnTo>
                  <a:cubicBezTo>
                    <a:pt x="54314" y="188327"/>
                    <a:pt x="53676" y="189604"/>
                    <a:pt x="53036" y="190881"/>
                  </a:cubicBezTo>
                  <a:lnTo>
                    <a:pt x="44091" y="203011"/>
                  </a:lnTo>
                  <a:cubicBezTo>
                    <a:pt x="45369" y="203011"/>
                    <a:pt x="46647" y="203011"/>
                    <a:pt x="47925" y="203011"/>
                  </a:cubicBezTo>
                  <a:cubicBezTo>
                    <a:pt x="79874" y="203011"/>
                    <a:pt x="109907" y="187689"/>
                    <a:pt x="129077" y="162153"/>
                  </a:cubicBezTo>
                  <a:lnTo>
                    <a:pt x="122687" y="150024"/>
                  </a:lnTo>
                  <a:close/>
                </a:path>
              </a:pathLst>
            </a:custGeom>
            <a:solidFill>
              <a:srgbClr val="012169"/>
            </a:solidFill>
            <a:ln w="6390" cap="flat">
              <a:noFill/>
              <a:prstDash val="solid"/>
              <a:miter/>
            </a:ln>
          </p:spPr>
          <p:txBody>
            <a:bodyPr rtlCol="0" anchor="ctr"/>
            <a:lstStyle/>
            <a:p>
              <a:endParaRPr lang="en-US"/>
            </a:p>
          </p:txBody>
        </p:sp>
      </p:grpSp>
      <p:grpSp>
        <p:nvGrpSpPr>
          <p:cNvPr id="173" name="Graphic 4">
            <a:extLst>
              <a:ext uri="{FF2B5EF4-FFF2-40B4-BE49-F238E27FC236}">
                <a16:creationId xmlns:a16="http://schemas.microsoft.com/office/drawing/2014/main" id="{AEA7910E-0587-5A37-144D-AE352B2F3B4D}"/>
              </a:ext>
            </a:extLst>
          </p:cNvPr>
          <p:cNvGrpSpPr>
            <a:grpSpLocks/>
          </p:cNvGrpSpPr>
          <p:nvPr/>
        </p:nvGrpSpPr>
        <p:grpSpPr>
          <a:xfrm>
            <a:off x="474316" y="3739845"/>
            <a:ext cx="539988" cy="540011"/>
            <a:chOff x="1952125" y="3824168"/>
            <a:chExt cx="362313" cy="361971"/>
          </a:xfrm>
          <a:solidFill>
            <a:schemeClr val="accent3"/>
          </a:solidFill>
        </p:grpSpPr>
        <p:sp>
          <p:nvSpPr>
            <p:cNvPr id="174" name="Graphic 4">
              <a:extLst>
                <a:ext uri="{FF2B5EF4-FFF2-40B4-BE49-F238E27FC236}">
                  <a16:creationId xmlns:a16="http://schemas.microsoft.com/office/drawing/2014/main" id="{A4C7C940-4729-2790-E8C7-6B45DBEFC8D7}"/>
                </a:ext>
              </a:extLst>
            </p:cNvPr>
            <p:cNvSpPr/>
            <p:nvPr/>
          </p:nvSpPr>
          <p:spPr>
            <a:xfrm>
              <a:off x="2070339" y="4063567"/>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175" name="Graphic 4">
              <a:extLst>
                <a:ext uri="{FF2B5EF4-FFF2-40B4-BE49-F238E27FC236}">
                  <a16:creationId xmlns:a16="http://schemas.microsoft.com/office/drawing/2014/main" id="{9435AA75-6617-2BF2-5019-E86C8D1A9003}"/>
                </a:ext>
              </a:extLst>
            </p:cNvPr>
            <p:cNvSpPr/>
            <p:nvPr/>
          </p:nvSpPr>
          <p:spPr>
            <a:xfrm>
              <a:off x="1952125" y="3824168"/>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23965 w 362313"/>
                <a:gd name="connsiteY6" fmla="*/ 263658 h 361971"/>
                <a:gd name="connsiteX7" fmla="*/ 105434 w 362313"/>
                <a:gd name="connsiteY7" fmla="*/ 245145 h 361971"/>
                <a:gd name="connsiteX8" fmla="*/ 123965 w 362313"/>
                <a:gd name="connsiteY8" fmla="*/ 226631 h 361971"/>
                <a:gd name="connsiteX9" fmla="*/ 142496 w 362313"/>
                <a:gd name="connsiteY9" fmla="*/ 245145 h 361971"/>
                <a:gd name="connsiteX10" fmla="*/ 123965 w 362313"/>
                <a:gd name="connsiteY10" fmla="*/ 263658 h 361971"/>
                <a:gd name="connsiteX11" fmla="*/ 123965 w 362313"/>
                <a:gd name="connsiteY11" fmla="*/ 263658 h 361971"/>
                <a:gd name="connsiteX12" fmla="*/ 123965 w 362313"/>
                <a:gd name="connsiteY12" fmla="*/ 263658 h 361971"/>
                <a:gd name="connsiteX13" fmla="*/ 203839 w 362313"/>
                <a:gd name="connsiteY13" fmla="*/ 263658 h 361971"/>
                <a:gd name="connsiteX14" fmla="*/ 197449 w 362313"/>
                <a:gd name="connsiteY14" fmla="*/ 257274 h 361971"/>
                <a:gd name="connsiteX15" fmla="*/ 111824 w 362313"/>
                <a:gd name="connsiteY15" fmla="*/ 172368 h 361971"/>
                <a:gd name="connsiteX16" fmla="*/ 111824 w 362313"/>
                <a:gd name="connsiteY16" fmla="*/ 172368 h 361971"/>
                <a:gd name="connsiteX17" fmla="*/ 105434 w 362313"/>
                <a:gd name="connsiteY17" fmla="*/ 165984 h 361971"/>
                <a:gd name="connsiteX18" fmla="*/ 111824 w 362313"/>
                <a:gd name="connsiteY18" fmla="*/ 159600 h 361971"/>
                <a:gd name="connsiteX19" fmla="*/ 209590 w 362313"/>
                <a:gd name="connsiteY19" fmla="*/ 257274 h 361971"/>
                <a:gd name="connsiteX20" fmla="*/ 203839 w 362313"/>
                <a:gd name="connsiteY20" fmla="*/ 263658 h 361971"/>
                <a:gd name="connsiteX21" fmla="*/ 203839 w 362313"/>
                <a:gd name="connsiteY21" fmla="*/ 263658 h 361971"/>
                <a:gd name="connsiteX22" fmla="*/ 279240 w 362313"/>
                <a:gd name="connsiteY22" fmla="*/ 265574 h 361971"/>
                <a:gd name="connsiteX23" fmla="*/ 272850 w 362313"/>
                <a:gd name="connsiteY23" fmla="*/ 259190 h 361971"/>
                <a:gd name="connsiteX24" fmla="*/ 109907 w 362313"/>
                <a:gd name="connsiteY24" fmla="*/ 96398 h 361971"/>
                <a:gd name="connsiteX25" fmla="*/ 103517 w 362313"/>
                <a:gd name="connsiteY25" fmla="*/ 90014 h 361971"/>
                <a:gd name="connsiteX26" fmla="*/ 109907 w 362313"/>
                <a:gd name="connsiteY26" fmla="*/ 83630 h 361971"/>
                <a:gd name="connsiteX27" fmla="*/ 284991 w 362313"/>
                <a:gd name="connsiteY27" fmla="*/ 259190 h 361971"/>
                <a:gd name="connsiteX28" fmla="*/ 279240 w 362313"/>
                <a:gd name="connsiteY28" fmla="*/ 265574 h 361971"/>
                <a:gd name="connsiteX29" fmla="*/ 279240 w 362313"/>
                <a:gd name="connsiteY29" fmla="*/ 2655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313" h="361971">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close/>
                  <a:moveTo>
                    <a:pt x="123965" y="263658"/>
                  </a:moveTo>
                  <a:cubicBezTo>
                    <a:pt x="113741" y="263658"/>
                    <a:pt x="105434" y="255359"/>
                    <a:pt x="105434" y="245145"/>
                  </a:cubicBezTo>
                  <a:cubicBezTo>
                    <a:pt x="105434" y="234930"/>
                    <a:pt x="113741" y="226631"/>
                    <a:pt x="123965" y="226631"/>
                  </a:cubicBezTo>
                  <a:cubicBezTo>
                    <a:pt x="134189" y="226631"/>
                    <a:pt x="142496" y="234930"/>
                    <a:pt x="142496" y="245145"/>
                  </a:cubicBezTo>
                  <a:cubicBezTo>
                    <a:pt x="142496" y="255359"/>
                    <a:pt x="134189" y="263658"/>
                    <a:pt x="123965" y="263658"/>
                  </a:cubicBezTo>
                  <a:cubicBezTo>
                    <a:pt x="123965" y="263658"/>
                    <a:pt x="123965" y="263658"/>
                    <a:pt x="123965" y="263658"/>
                  </a:cubicBezTo>
                  <a:lnTo>
                    <a:pt x="123965" y="263658"/>
                  </a:lnTo>
                  <a:close/>
                  <a:moveTo>
                    <a:pt x="203839" y="263658"/>
                  </a:moveTo>
                  <a:cubicBezTo>
                    <a:pt x="200005" y="263658"/>
                    <a:pt x="197449" y="261105"/>
                    <a:pt x="197449" y="257274"/>
                  </a:cubicBezTo>
                  <a:cubicBezTo>
                    <a:pt x="197449" y="210033"/>
                    <a:pt x="159109" y="171729"/>
                    <a:pt x="111824" y="172368"/>
                  </a:cubicBezTo>
                  <a:cubicBezTo>
                    <a:pt x="111824" y="172368"/>
                    <a:pt x="111824" y="172368"/>
                    <a:pt x="111824" y="172368"/>
                  </a:cubicBezTo>
                  <a:cubicBezTo>
                    <a:pt x="107990" y="172368"/>
                    <a:pt x="105434" y="169814"/>
                    <a:pt x="105434" y="165984"/>
                  </a:cubicBezTo>
                  <a:cubicBezTo>
                    <a:pt x="105434" y="162153"/>
                    <a:pt x="107990" y="159600"/>
                    <a:pt x="111824" y="159600"/>
                  </a:cubicBezTo>
                  <a:cubicBezTo>
                    <a:pt x="166138" y="159600"/>
                    <a:pt x="209590" y="203649"/>
                    <a:pt x="209590" y="257274"/>
                  </a:cubicBezTo>
                  <a:cubicBezTo>
                    <a:pt x="209590" y="260466"/>
                    <a:pt x="207034" y="263658"/>
                    <a:pt x="203839" y="263658"/>
                  </a:cubicBezTo>
                  <a:lnTo>
                    <a:pt x="203839" y="263658"/>
                  </a:lnTo>
                  <a:close/>
                  <a:moveTo>
                    <a:pt x="279240" y="265574"/>
                  </a:moveTo>
                  <a:cubicBezTo>
                    <a:pt x="275406" y="265574"/>
                    <a:pt x="272850" y="263020"/>
                    <a:pt x="272850" y="259190"/>
                  </a:cubicBezTo>
                  <a:cubicBezTo>
                    <a:pt x="272850" y="169176"/>
                    <a:pt x="200005" y="97036"/>
                    <a:pt x="109907" y="96398"/>
                  </a:cubicBezTo>
                  <a:cubicBezTo>
                    <a:pt x="106073" y="96398"/>
                    <a:pt x="103517" y="93844"/>
                    <a:pt x="103517" y="90014"/>
                  </a:cubicBezTo>
                  <a:cubicBezTo>
                    <a:pt x="103517" y="86184"/>
                    <a:pt x="106073" y="83630"/>
                    <a:pt x="109907" y="83630"/>
                  </a:cubicBezTo>
                  <a:cubicBezTo>
                    <a:pt x="207034" y="83630"/>
                    <a:pt x="284991" y="162153"/>
                    <a:pt x="284991" y="259190"/>
                  </a:cubicBezTo>
                  <a:cubicBezTo>
                    <a:pt x="285630" y="263020"/>
                    <a:pt x="282435" y="265574"/>
                    <a:pt x="279240" y="265574"/>
                  </a:cubicBezTo>
                  <a:lnTo>
                    <a:pt x="279240" y="265574"/>
                  </a:lnTo>
                  <a:close/>
                </a:path>
              </a:pathLst>
            </a:custGeom>
            <a:grpFill/>
            <a:ln w="6390" cap="flat">
              <a:noFill/>
              <a:prstDash val="solid"/>
              <a:miter/>
            </a:ln>
          </p:spPr>
          <p:txBody>
            <a:bodyPr rtlCol="0" anchor="ctr"/>
            <a:lstStyle/>
            <a:p>
              <a:endParaRPr lang="en-US"/>
            </a:p>
          </p:txBody>
        </p:sp>
      </p:grpSp>
      <p:grpSp>
        <p:nvGrpSpPr>
          <p:cNvPr id="176" name="Graphic 4">
            <a:extLst>
              <a:ext uri="{FF2B5EF4-FFF2-40B4-BE49-F238E27FC236}">
                <a16:creationId xmlns:a16="http://schemas.microsoft.com/office/drawing/2014/main" id="{D24DDA8D-E832-6B94-E64C-97AE2287B935}"/>
              </a:ext>
            </a:extLst>
          </p:cNvPr>
          <p:cNvGrpSpPr>
            <a:grpSpLocks/>
          </p:cNvGrpSpPr>
          <p:nvPr/>
        </p:nvGrpSpPr>
        <p:grpSpPr>
          <a:xfrm>
            <a:off x="6609832" y="4776972"/>
            <a:ext cx="540000" cy="539990"/>
            <a:chOff x="5099169" y="1893013"/>
            <a:chExt cx="362309" cy="361971"/>
          </a:xfrm>
          <a:solidFill>
            <a:schemeClr val="tx2"/>
          </a:solidFill>
        </p:grpSpPr>
        <p:sp>
          <p:nvSpPr>
            <p:cNvPr id="177" name="Graphic 4">
              <a:extLst>
                <a:ext uri="{FF2B5EF4-FFF2-40B4-BE49-F238E27FC236}">
                  <a16:creationId xmlns:a16="http://schemas.microsoft.com/office/drawing/2014/main" id="{6EEBFE68-F27C-4CB4-3C05-0A8A4B1864A0}"/>
                </a:ext>
              </a:extLst>
            </p:cNvPr>
            <p:cNvSpPr/>
            <p:nvPr/>
          </p:nvSpPr>
          <p:spPr>
            <a:xfrm>
              <a:off x="5279366" y="2055804"/>
              <a:ext cx="15335" cy="15321"/>
            </a:xfrm>
            <a:custGeom>
              <a:avLst/>
              <a:gdLst>
                <a:gd name="connsiteX0" fmla="*/ 0 w 15335"/>
                <a:gd name="connsiteY0" fmla="*/ 0 h 15321"/>
                <a:gd name="connsiteX1" fmla="*/ 15336 w 15335"/>
                <a:gd name="connsiteY1" fmla="*/ 0 h 15321"/>
                <a:gd name="connsiteX2" fmla="*/ 15336 w 15335"/>
                <a:gd name="connsiteY2" fmla="*/ 15321 h 15321"/>
                <a:gd name="connsiteX3" fmla="*/ 0 w 15335"/>
                <a:gd name="connsiteY3" fmla="*/ 15321 h 15321"/>
              </a:gdLst>
              <a:ahLst/>
              <a:cxnLst>
                <a:cxn ang="0">
                  <a:pos x="connsiteX0" y="connsiteY0"/>
                </a:cxn>
                <a:cxn ang="0">
                  <a:pos x="connsiteX1" y="connsiteY1"/>
                </a:cxn>
                <a:cxn ang="0">
                  <a:pos x="connsiteX2" y="connsiteY2"/>
                </a:cxn>
                <a:cxn ang="0">
                  <a:pos x="connsiteX3" y="connsiteY3"/>
                </a:cxn>
              </a:cxnLst>
              <a:rect l="l" t="t" r="r" b="b"/>
              <a:pathLst>
                <a:path w="15335" h="15321">
                  <a:moveTo>
                    <a:pt x="0" y="0"/>
                  </a:moveTo>
                  <a:lnTo>
                    <a:pt x="15336" y="0"/>
                  </a:lnTo>
                  <a:lnTo>
                    <a:pt x="15336" y="15321"/>
                  </a:lnTo>
                  <a:lnTo>
                    <a:pt x="0" y="15321"/>
                  </a:lnTo>
                  <a:close/>
                </a:path>
              </a:pathLst>
            </a:custGeom>
            <a:grpFill/>
            <a:ln w="6390" cap="flat">
              <a:noFill/>
              <a:prstDash val="solid"/>
              <a:miter/>
            </a:ln>
          </p:spPr>
          <p:txBody>
            <a:bodyPr rtlCol="0" anchor="ctr"/>
            <a:lstStyle/>
            <a:p>
              <a:endParaRPr lang="en-US"/>
            </a:p>
          </p:txBody>
        </p:sp>
        <p:sp>
          <p:nvSpPr>
            <p:cNvPr id="178" name="Graphic 4">
              <a:extLst>
                <a:ext uri="{FF2B5EF4-FFF2-40B4-BE49-F238E27FC236}">
                  <a16:creationId xmlns:a16="http://schemas.microsoft.com/office/drawing/2014/main" id="{2F60F61B-6A1D-C30A-19E9-696AF65FA3ED}"/>
                </a:ext>
              </a:extLst>
            </p:cNvPr>
            <p:cNvSpPr/>
            <p:nvPr/>
          </p:nvSpPr>
          <p:spPr>
            <a:xfrm>
              <a:off x="5194380" y="2027076"/>
              <a:ext cx="129076" cy="100867"/>
            </a:xfrm>
            <a:custGeom>
              <a:avLst/>
              <a:gdLst>
                <a:gd name="connsiteX0" fmla="*/ 0 w 129076"/>
                <a:gd name="connsiteY0" fmla="*/ 15960 h 100867"/>
                <a:gd name="connsiteX1" fmla="*/ 114380 w 129076"/>
                <a:gd name="connsiteY1" fmla="*/ 15960 h 100867"/>
                <a:gd name="connsiteX2" fmla="*/ 120770 w 129076"/>
                <a:gd name="connsiteY2" fmla="*/ 22344 h 100867"/>
                <a:gd name="connsiteX3" fmla="*/ 114380 w 129076"/>
                <a:gd name="connsiteY3" fmla="*/ 28728 h 100867"/>
                <a:gd name="connsiteX4" fmla="*/ 113741 w 129076"/>
                <a:gd name="connsiteY4" fmla="*/ 28728 h 100867"/>
                <a:gd name="connsiteX5" fmla="*/ 113741 w 129076"/>
                <a:gd name="connsiteY5" fmla="*/ 44049 h 100867"/>
                <a:gd name="connsiteX6" fmla="*/ 114380 w 129076"/>
                <a:gd name="connsiteY6" fmla="*/ 44049 h 100867"/>
                <a:gd name="connsiteX7" fmla="*/ 120770 w 129076"/>
                <a:gd name="connsiteY7" fmla="*/ 50433 h 100867"/>
                <a:gd name="connsiteX8" fmla="*/ 114380 w 129076"/>
                <a:gd name="connsiteY8" fmla="*/ 56817 h 100867"/>
                <a:gd name="connsiteX9" fmla="*/ 0 w 129076"/>
                <a:gd name="connsiteY9" fmla="*/ 56817 h 100867"/>
                <a:gd name="connsiteX10" fmla="*/ 0 w 129076"/>
                <a:gd name="connsiteY10" fmla="*/ 100867 h 100867"/>
                <a:gd name="connsiteX11" fmla="*/ 9585 w 129076"/>
                <a:gd name="connsiteY11" fmla="*/ 100867 h 100867"/>
                <a:gd name="connsiteX12" fmla="*/ 35145 w 129076"/>
                <a:gd name="connsiteY12" fmla="*/ 87461 h 100867"/>
                <a:gd name="connsiteX13" fmla="*/ 48563 w 129076"/>
                <a:gd name="connsiteY13" fmla="*/ 100867 h 100867"/>
                <a:gd name="connsiteX14" fmla="*/ 129076 w 129076"/>
                <a:gd name="connsiteY14" fmla="*/ 100867 h 100867"/>
                <a:gd name="connsiteX15" fmla="*/ 129076 w 129076"/>
                <a:gd name="connsiteY15" fmla="*/ 0 h 100867"/>
                <a:gd name="connsiteX16" fmla="*/ 0 w 129076"/>
                <a:gd name="connsiteY16" fmla="*/ 0 h 100867"/>
                <a:gd name="connsiteX17" fmla="*/ 0 w 129076"/>
                <a:gd name="connsiteY17" fmla="*/ 15960 h 10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9076" h="100867">
                  <a:moveTo>
                    <a:pt x="0" y="15960"/>
                  </a:moveTo>
                  <a:lnTo>
                    <a:pt x="114380" y="15960"/>
                  </a:lnTo>
                  <a:cubicBezTo>
                    <a:pt x="118214" y="15960"/>
                    <a:pt x="120770" y="18514"/>
                    <a:pt x="120770" y="22344"/>
                  </a:cubicBezTo>
                  <a:cubicBezTo>
                    <a:pt x="120770" y="26174"/>
                    <a:pt x="118214" y="28728"/>
                    <a:pt x="114380" y="28728"/>
                  </a:cubicBezTo>
                  <a:lnTo>
                    <a:pt x="113741" y="28728"/>
                  </a:lnTo>
                  <a:lnTo>
                    <a:pt x="113741" y="44049"/>
                  </a:lnTo>
                  <a:lnTo>
                    <a:pt x="114380" y="44049"/>
                  </a:lnTo>
                  <a:cubicBezTo>
                    <a:pt x="118214" y="44049"/>
                    <a:pt x="120770" y="46603"/>
                    <a:pt x="120770" y="50433"/>
                  </a:cubicBezTo>
                  <a:cubicBezTo>
                    <a:pt x="120770" y="54264"/>
                    <a:pt x="118214" y="56817"/>
                    <a:pt x="114380" y="56817"/>
                  </a:cubicBezTo>
                  <a:lnTo>
                    <a:pt x="0" y="56817"/>
                  </a:lnTo>
                  <a:lnTo>
                    <a:pt x="0" y="100867"/>
                  </a:lnTo>
                  <a:lnTo>
                    <a:pt x="9585" y="100867"/>
                  </a:lnTo>
                  <a:cubicBezTo>
                    <a:pt x="12780" y="90014"/>
                    <a:pt x="24282" y="84269"/>
                    <a:pt x="35145" y="87461"/>
                  </a:cubicBezTo>
                  <a:cubicBezTo>
                    <a:pt x="41535" y="89376"/>
                    <a:pt x="46007" y="94483"/>
                    <a:pt x="48563" y="100867"/>
                  </a:cubicBezTo>
                  <a:lnTo>
                    <a:pt x="129076" y="100867"/>
                  </a:lnTo>
                  <a:lnTo>
                    <a:pt x="129076" y="0"/>
                  </a:lnTo>
                  <a:lnTo>
                    <a:pt x="0" y="0"/>
                  </a:lnTo>
                  <a:lnTo>
                    <a:pt x="0" y="15960"/>
                  </a:lnTo>
                  <a:close/>
                </a:path>
              </a:pathLst>
            </a:custGeom>
            <a:grpFill/>
            <a:ln w="6390" cap="flat">
              <a:noFill/>
              <a:prstDash val="solid"/>
              <a:miter/>
            </a:ln>
          </p:spPr>
          <p:txBody>
            <a:bodyPr rtlCol="0" anchor="ctr"/>
            <a:lstStyle/>
            <a:p>
              <a:endParaRPr lang="en-US"/>
            </a:p>
          </p:txBody>
        </p:sp>
        <p:sp>
          <p:nvSpPr>
            <p:cNvPr id="179" name="Graphic 4">
              <a:extLst>
                <a:ext uri="{FF2B5EF4-FFF2-40B4-BE49-F238E27FC236}">
                  <a16:creationId xmlns:a16="http://schemas.microsoft.com/office/drawing/2014/main" id="{45CCD7E5-F96F-D869-D787-03EE491ED3AB}"/>
                </a:ext>
              </a:extLst>
            </p:cNvPr>
            <p:cNvSpPr/>
            <p:nvPr/>
          </p:nvSpPr>
          <p:spPr>
            <a:xfrm>
              <a:off x="5251250" y="2055804"/>
              <a:ext cx="15335" cy="15321"/>
            </a:xfrm>
            <a:custGeom>
              <a:avLst/>
              <a:gdLst>
                <a:gd name="connsiteX0" fmla="*/ 0 w 15335"/>
                <a:gd name="connsiteY0" fmla="*/ 0 h 15321"/>
                <a:gd name="connsiteX1" fmla="*/ 15336 w 15335"/>
                <a:gd name="connsiteY1" fmla="*/ 0 h 15321"/>
                <a:gd name="connsiteX2" fmla="*/ 15336 w 15335"/>
                <a:gd name="connsiteY2" fmla="*/ 15321 h 15321"/>
                <a:gd name="connsiteX3" fmla="*/ 0 w 15335"/>
                <a:gd name="connsiteY3" fmla="*/ 15321 h 15321"/>
              </a:gdLst>
              <a:ahLst/>
              <a:cxnLst>
                <a:cxn ang="0">
                  <a:pos x="connsiteX0" y="connsiteY0"/>
                </a:cxn>
                <a:cxn ang="0">
                  <a:pos x="connsiteX1" y="connsiteY1"/>
                </a:cxn>
                <a:cxn ang="0">
                  <a:pos x="connsiteX2" y="connsiteY2"/>
                </a:cxn>
                <a:cxn ang="0">
                  <a:pos x="connsiteX3" y="connsiteY3"/>
                </a:cxn>
              </a:cxnLst>
              <a:rect l="l" t="t" r="r" b="b"/>
              <a:pathLst>
                <a:path w="15335" h="15321">
                  <a:moveTo>
                    <a:pt x="0" y="0"/>
                  </a:moveTo>
                  <a:lnTo>
                    <a:pt x="15336" y="0"/>
                  </a:lnTo>
                  <a:lnTo>
                    <a:pt x="15336" y="15321"/>
                  </a:lnTo>
                  <a:lnTo>
                    <a:pt x="0" y="15321"/>
                  </a:lnTo>
                  <a:close/>
                </a:path>
              </a:pathLst>
            </a:custGeom>
            <a:grpFill/>
            <a:ln w="6390" cap="flat">
              <a:noFill/>
              <a:prstDash val="solid"/>
              <a:miter/>
            </a:ln>
          </p:spPr>
          <p:txBody>
            <a:bodyPr rtlCol="0" anchor="ctr"/>
            <a:lstStyle/>
            <a:p>
              <a:endParaRPr lang="en-US"/>
            </a:p>
          </p:txBody>
        </p:sp>
        <p:sp>
          <p:nvSpPr>
            <p:cNvPr id="180" name="Graphic 4">
              <a:extLst>
                <a:ext uri="{FF2B5EF4-FFF2-40B4-BE49-F238E27FC236}">
                  <a16:creationId xmlns:a16="http://schemas.microsoft.com/office/drawing/2014/main" id="{2B040034-F69B-7A65-D736-1308ED129F3B}"/>
                </a:ext>
              </a:extLst>
            </p:cNvPr>
            <p:cNvSpPr/>
            <p:nvPr/>
          </p:nvSpPr>
          <p:spPr>
            <a:xfrm>
              <a:off x="5194379" y="2055804"/>
              <a:ext cx="15335" cy="15321"/>
            </a:xfrm>
            <a:custGeom>
              <a:avLst/>
              <a:gdLst>
                <a:gd name="connsiteX0" fmla="*/ 0 w 15335"/>
                <a:gd name="connsiteY0" fmla="*/ 0 h 15321"/>
                <a:gd name="connsiteX1" fmla="*/ 15336 w 15335"/>
                <a:gd name="connsiteY1" fmla="*/ 0 h 15321"/>
                <a:gd name="connsiteX2" fmla="*/ 15336 w 15335"/>
                <a:gd name="connsiteY2" fmla="*/ 15321 h 15321"/>
                <a:gd name="connsiteX3" fmla="*/ 0 w 15335"/>
                <a:gd name="connsiteY3" fmla="*/ 15321 h 15321"/>
              </a:gdLst>
              <a:ahLst/>
              <a:cxnLst>
                <a:cxn ang="0">
                  <a:pos x="connsiteX0" y="connsiteY0"/>
                </a:cxn>
                <a:cxn ang="0">
                  <a:pos x="connsiteX1" y="connsiteY1"/>
                </a:cxn>
                <a:cxn ang="0">
                  <a:pos x="connsiteX2" y="connsiteY2"/>
                </a:cxn>
                <a:cxn ang="0">
                  <a:pos x="connsiteX3" y="connsiteY3"/>
                </a:cxn>
              </a:cxnLst>
              <a:rect l="l" t="t" r="r" b="b"/>
              <a:pathLst>
                <a:path w="15335" h="15321">
                  <a:moveTo>
                    <a:pt x="0" y="0"/>
                  </a:moveTo>
                  <a:lnTo>
                    <a:pt x="15336" y="0"/>
                  </a:lnTo>
                  <a:lnTo>
                    <a:pt x="15336" y="15321"/>
                  </a:lnTo>
                  <a:lnTo>
                    <a:pt x="0" y="15321"/>
                  </a:lnTo>
                  <a:close/>
                </a:path>
              </a:pathLst>
            </a:custGeom>
            <a:grpFill/>
            <a:ln w="6390" cap="flat">
              <a:noFill/>
              <a:prstDash val="solid"/>
              <a:miter/>
            </a:ln>
          </p:spPr>
          <p:txBody>
            <a:bodyPr rtlCol="0" anchor="ctr"/>
            <a:lstStyle/>
            <a:p>
              <a:endParaRPr lang="en-US"/>
            </a:p>
          </p:txBody>
        </p:sp>
        <p:sp>
          <p:nvSpPr>
            <p:cNvPr id="181" name="Graphic 4">
              <a:extLst>
                <a:ext uri="{FF2B5EF4-FFF2-40B4-BE49-F238E27FC236}">
                  <a16:creationId xmlns:a16="http://schemas.microsoft.com/office/drawing/2014/main" id="{0BBAC297-DBB0-FBD9-5E63-CBAB8322BB81}"/>
                </a:ext>
              </a:extLst>
            </p:cNvPr>
            <p:cNvSpPr/>
            <p:nvPr/>
          </p:nvSpPr>
          <p:spPr>
            <a:xfrm>
              <a:off x="5223134" y="2055804"/>
              <a:ext cx="15335" cy="15321"/>
            </a:xfrm>
            <a:custGeom>
              <a:avLst/>
              <a:gdLst>
                <a:gd name="connsiteX0" fmla="*/ 0 w 15335"/>
                <a:gd name="connsiteY0" fmla="*/ 0 h 15321"/>
                <a:gd name="connsiteX1" fmla="*/ 15336 w 15335"/>
                <a:gd name="connsiteY1" fmla="*/ 0 h 15321"/>
                <a:gd name="connsiteX2" fmla="*/ 15336 w 15335"/>
                <a:gd name="connsiteY2" fmla="*/ 15321 h 15321"/>
                <a:gd name="connsiteX3" fmla="*/ 0 w 15335"/>
                <a:gd name="connsiteY3" fmla="*/ 15321 h 15321"/>
              </a:gdLst>
              <a:ahLst/>
              <a:cxnLst>
                <a:cxn ang="0">
                  <a:pos x="connsiteX0" y="connsiteY0"/>
                </a:cxn>
                <a:cxn ang="0">
                  <a:pos x="connsiteX1" y="connsiteY1"/>
                </a:cxn>
                <a:cxn ang="0">
                  <a:pos x="connsiteX2" y="connsiteY2"/>
                </a:cxn>
                <a:cxn ang="0">
                  <a:pos x="connsiteX3" y="connsiteY3"/>
                </a:cxn>
              </a:cxnLst>
              <a:rect l="l" t="t" r="r" b="b"/>
              <a:pathLst>
                <a:path w="15335" h="15321">
                  <a:moveTo>
                    <a:pt x="0" y="0"/>
                  </a:moveTo>
                  <a:lnTo>
                    <a:pt x="15336" y="0"/>
                  </a:lnTo>
                  <a:lnTo>
                    <a:pt x="15336" y="15321"/>
                  </a:lnTo>
                  <a:lnTo>
                    <a:pt x="0" y="15321"/>
                  </a:lnTo>
                  <a:close/>
                </a:path>
              </a:pathLst>
            </a:custGeom>
            <a:grpFill/>
            <a:ln w="6390" cap="flat">
              <a:noFill/>
              <a:prstDash val="solid"/>
              <a:miter/>
            </a:ln>
          </p:spPr>
          <p:txBody>
            <a:bodyPr rtlCol="0" anchor="ctr"/>
            <a:lstStyle/>
            <a:p>
              <a:endParaRPr lang="en-US"/>
            </a:p>
          </p:txBody>
        </p:sp>
        <p:sp>
          <p:nvSpPr>
            <p:cNvPr id="182" name="Graphic 4">
              <a:extLst>
                <a:ext uri="{FF2B5EF4-FFF2-40B4-BE49-F238E27FC236}">
                  <a16:creationId xmlns:a16="http://schemas.microsoft.com/office/drawing/2014/main" id="{8DF8A3DF-69E9-B924-14E2-9FC8048B2342}"/>
                </a:ext>
              </a:extLst>
            </p:cNvPr>
            <p:cNvSpPr/>
            <p:nvPr/>
          </p:nvSpPr>
          <p:spPr>
            <a:xfrm>
              <a:off x="5294062" y="2006009"/>
              <a:ext cx="15974" cy="8299"/>
            </a:xfrm>
            <a:custGeom>
              <a:avLst/>
              <a:gdLst>
                <a:gd name="connsiteX0" fmla="*/ 15336 w 15974"/>
                <a:gd name="connsiteY0" fmla="*/ 7661 h 8299"/>
                <a:gd name="connsiteX1" fmla="*/ 7668 w 15974"/>
                <a:gd name="connsiteY1" fmla="*/ 0 h 8299"/>
                <a:gd name="connsiteX2" fmla="*/ 0 w 15974"/>
                <a:gd name="connsiteY2" fmla="*/ 7661 h 8299"/>
                <a:gd name="connsiteX3" fmla="*/ 0 w 15974"/>
                <a:gd name="connsiteY3" fmla="*/ 8299 h 8299"/>
                <a:gd name="connsiteX4" fmla="*/ 15975 w 15974"/>
                <a:gd name="connsiteY4" fmla="*/ 8299 h 8299"/>
                <a:gd name="connsiteX5" fmla="*/ 15336 w 15974"/>
                <a:gd name="connsiteY5" fmla="*/ 7661 h 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74" h="8299">
                  <a:moveTo>
                    <a:pt x="15336" y="7661"/>
                  </a:moveTo>
                  <a:cubicBezTo>
                    <a:pt x="15336" y="3192"/>
                    <a:pt x="12141" y="0"/>
                    <a:pt x="7668" y="0"/>
                  </a:cubicBezTo>
                  <a:cubicBezTo>
                    <a:pt x="3195" y="0"/>
                    <a:pt x="0" y="3192"/>
                    <a:pt x="0" y="7661"/>
                  </a:cubicBezTo>
                  <a:cubicBezTo>
                    <a:pt x="0" y="7661"/>
                    <a:pt x="0" y="8299"/>
                    <a:pt x="0" y="8299"/>
                  </a:cubicBezTo>
                  <a:lnTo>
                    <a:pt x="15975" y="8299"/>
                  </a:lnTo>
                  <a:cubicBezTo>
                    <a:pt x="15336" y="8299"/>
                    <a:pt x="15336" y="7661"/>
                    <a:pt x="15336" y="7661"/>
                  </a:cubicBezTo>
                  <a:close/>
                </a:path>
              </a:pathLst>
            </a:custGeom>
            <a:grpFill/>
            <a:ln w="6390" cap="flat">
              <a:noFill/>
              <a:prstDash val="solid"/>
              <a:miter/>
            </a:ln>
          </p:spPr>
          <p:txBody>
            <a:bodyPr rtlCol="0" anchor="ctr"/>
            <a:lstStyle/>
            <a:p>
              <a:endParaRPr lang="en-US"/>
            </a:p>
          </p:txBody>
        </p:sp>
        <p:sp>
          <p:nvSpPr>
            <p:cNvPr id="183" name="Graphic 4">
              <a:extLst>
                <a:ext uri="{FF2B5EF4-FFF2-40B4-BE49-F238E27FC236}">
                  <a16:creationId xmlns:a16="http://schemas.microsoft.com/office/drawing/2014/main" id="{7EA733FF-AACD-FE21-5BED-1EDA664F45AC}"/>
                </a:ext>
              </a:extLst>
            </p:cNvPr>
            <p:cNvSpPr/>
            <p:nvPr/>
          </p:nvSpPr>
          <p:spPr>
            <a:xfrm>
              <a:off x="5216105" y="2126667"/>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192"/>
                    <a:pt x="12141" y="0"/>
                    <a:pt x="7668" y="0"/>
                  </a:cubicBezTo>
                  <a:close/>
                </a:path>
              </a:pathLst>
            </a:custGeom>
            <a:grpFill/>
            <a:ln w="6390" cap="flat">
              <a:noFill/>
              <a:prstDash val="solid"/>
              <a:miter/>
            </a:ln>
          </p:spPr>
          <p:txBody>
            <a:bodyPr rtlCol="0" anchor="ctr"/>
            <a:lstStyle/>
            <a:p>
              <a:endParaRPr lang="en-US"/>
            </a:p>
          </p:txBody>
        </p:sp>
        <p:sp>
          <p:nvSpPr>
            <p:cNvPr id="185" name="Graphic 4">
              <a:extLst>
                <a:ext uri="{FF2B5EF4-FFF2-40B4-BE49-F238E27FC236}">
                  <a16:creationId xmlns:a16="http://schemas.microsoft.com/office/drawing/2014/main" id="{3334EDAB-3EAF-EF3E-AA61-8C64298B554F}"/>
                </a:ext>
              </a:extLst>
            </p:cNvPr>
            <p:cNvSpPr/>
            <p:nvPr/>
          </p:nvSpPr>
          <p:spPr>
            <a:xfrm>
              <a:off x="5336236" y="2069849"/>
              <a:ext cx="43533" cy="58094"/>
            </a:xfrm>
            <a:custGeom>
              <a:avLst/>
              <a:gdLst>
                <a:gd name="connsiteX0" fmla="*/ 36423 w 43533"/>
                <a:gd name="connsiteY0" fmla="*/ 0 h 58094"/>
                <a:gd name="connsiteX1" fmla="*/ 0 w 43533"/>
                <a:gd name="connsiteY1" fmla="*/ 0 h 58094"/>
                <a:gd name="connsiteX2" fmla="*/ 0 w 43533"/>
                <a:gd name="connsiteY2" fmla="*/ 45326 h 58094"/>
                <a:gd name="connsiteX3" fmla="*/ 7668 w 43533"/>
                <a:gd name="connsiteY3" fmla="*/ 44049 h 58094"/>
                <a:gd name="connsiteX4" fmla="*/ 26838 w 43533"/>
                <a:gd name="connsiteY4" fmla="*/ 58094 h 58094"/>
                <a:gd name="connsiteX5" fmla="*/ 43452 w 43533"/>
                <a:gd name="connsiteY5" fmla="*/ 58094 h 58094"/>
                <a:gd name="connsiteX6" fmla="*/ 43452 w 43533"/>
                <a:gd name="connsiteY6" fmla="*/ 7661 h 58094"/>
                <a:gd name="connsiteX7" fmla="*/ 36423 w 43533"/>
                <a:gd name="connsiteY7" fmla="*/ 0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33" h="58094">
                  <a:moveTo>
                    <a:pt x="36423" y="0"/>
                  </a:moveTo>
                  <a:lnTo>
                    <a:pt x="0" y="0"/>
                  </a:lnTo>
                  <a:lnTo>
                    <a:pt x="0" y="45326"/>
                  </a:lnTo>
                  <a:cubicBezTo>
                    <a:pt x="2556" y="44049"/>
                    <a:pt x="5112" y="44049"/>
                    <a:pt x="7668" y="44049"/>
                  </a:cubicBezTo>
                  <a:cubicBezTo>
                    <a:pt x="16614" y="44049"/>
                    <a:pt x="24282" y="49795"/>
                    <a:pt x="26838" y="58094"/>
                  </a:cubicBezTo>
                  <a:lnTo>
                    <a:pt x="43452" y="58094"/>
                  </a:lnTo>
                  <a:lnTo>
                    <a:pt x="43452" y="7661"/>
                  </a:lnTo>
                  <a:cubicBezTo>
                    <a:pt x="44091" y="3192"/>
                    <a:pt x="40896" y="0"/>
                    <a:pt x="36423" y="0"/>
                  </a:cubicBezTo>
                  <a:close/>
                </a:path>
              </a:pathLst>
            </a:custGeom>
            <a:grpFill/>
            <a:ln w="6390" cap="flat">
              <a:noFill/>
              <a:prstDash val="solid"/>
              <a:miter/>
            </a:ln>
          </p:spPr>
          <p:txBody>
            <a:bodyPr rtlCol="0" anchor="ctr"/>
            <a:lstStyle/>
            <a:p>
              <a:endParaRPr lang="en-US"/>
            </a:p>
          </p:txBody>
        </p:sp>
        <p:sp>
          <p:nvSpPr>
            <p:cNvPr id="186" name="Graphic 4">
              <a:extLst>
                <a:ext uri="{FF2B5EF4-FFF2-40B4-BE49-F238E27FC236}">
                  <a16:creationId xmlns:a16="http://schemas.microsoft.com/office/drawing/2014/main" id="{729F95D6-F30B-A094-AEC8-23F984E339C0}"/>
                </a:ext>
              </a:extLst>
            </p:cNvPr>
            <p:cNvSpPr/>
            <p:nvPr/>
          </p:nvSpPr>
          <p:spPr>
            <a:xfrm>
              <a:off x="5099169" y="189301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93937 w 362309"/>
                <a:gd name="connsiteY7" fmla="*/ 241315 h 361971"/>
                <a:gd name="connsiteX8" fmla="*/ 287547 w 362309"/>
                <a:gd name="connsiteY8" fmla="*/ 247699 h 361971"/>
                <a:gd name="connsiteX9" fmla="*/ 264544 w 362309"/>
                <a:gd name="connsiteY9" fmla="*/ 247699 h 361971"/>
                <a:gd name="connsiteX10" fmla="*/ 238984 w 362309"/>
                <a:gd name="connsiteY10" fmla="*/ 261105 h 361971"/>
                <a:gd name="connsiteX11" fmla="*/ 225565 w 362309"/>
                <a:gd name="connsiteY11" fmla="*/ 247699 h 361971"/>
                <a:gd name="connsiteX12" fmla="*/ 143774 w 362309"/>
                <a:gd name="connsiteY12" fmla="*/ 247699 h 361971"/>
                <a:gd name="connsiteX13" fmla="*/ 118214 w 362309"/>
                <a:gd name="connsiteY13" fmla="*/ 261105 h 361971"/>
                <a:gd name="connsiteX14" fmla="*/ 104795 w 362309"/>
                <a:gd name="connsiteY14" fmla="*/ 247699 h 361971"/>
                <a:gd name="connsiteX15" fmla="*/ 88820 w 362309"/>
                <a:gd name="connsiteY15" fmla="*/ 247699 h 361971"/>
                <a:gd name="connsiteX16" fmla="*/ 82430 w 362309"/>
                <a:gd name="connsiteY16" fmla="*/ 241315 h 361971"/>
                <a:gd name="connsiteX17" fmla="*/ 82430 w 362309"/>
                <a:gd name="connsiteY17" fmla="*/ 190881 h 361971"/>
                <a:gd name="connsiteX18" fmla="*/ 74762 w 362309"/>
                <a:gd name="connsiteY18" fmla="*/ 190881 h 361971"/>
                <a:gd name="connsiteX19" fmla="*/ 68372 w 362309"/>
                <a:gd name="connsiteY19" fmla="*/ 184497 h 361971"/>
                <a:gd name="connsiteX20" fmla="*/ 74762 w 362309"/>
                <a:gd name="connsiteY20" fmla="*/ 178113 h 361971"/>
                <a:gd name="connsiteX21" fmla="*/ 82430 w 362309"/>
                <a:gd name="connsiteY21" fmla="*/ 178113 h 361971"/>
                <a:gd name="connsiteX22" fmla="*/ 82430 w 362309"/>
                <a:gd name="connsiteY22" fmla="*/ 162792 h 361971"/>
                <a:gd name="connsiteX23" fmla="*/ 74762 w 362309"/>
                <a:gd name="connsiteY23" fmla="*/ 162792 h 361971"/>
                <a:gd name="connsiteX24" fmla="*/ 68372 w 362309"/>
                <a:gd name="connsiteY24" fmla="*/ 156408 h 361971"/>
                <a:gd name="connsiteX25" fmla="*/ 74762 w 362309"/>
                <a:gd name="connsiteY25" fmla="*/ 150024 h 361971"/>
                <a:gd name="connsiteX26" fmla="*/ 82430 w 362309"/>
                <a:gd name="connsiteY26" fmla="*/ 150024 h 361971"/>
                <a:gd name="connsiteX27" fmla="*/ 82430 w 362309"/>
                <a:gd name="connsiteY27" fmla="*/ 127680 h 361971"/>
                <a:gd name="connsiteX28" fmla="*/ 88820 w 362309"/>
                <a:gd name="connsiteY28" fmla="*/ 121296 h 361971"/>
                <a:gd name="connsiteX29" fmla="*/ 182113 w 362309"/>
                <a:gd name="connsiteY29" fmla="*/ 121296 h 361971"/>
                <a:gd name="connsiteX30" fmla="*/ 182113 w 362309"/>
                <a:gd name="connsiteY30" fmla="*/ 120657 h 361971"/>
                <a:gd name="connsiteX31" fmla="*/ 202561 w 362309"/>
                <a:gd name="connsiteY31" fmla="*/ 100229 h 361971"/>
                <a:gd name="connsiteX32" fmla="*/ 223009 w 362309"/>
                <a:gd name="connsiteY32" fmla="*/ 120657 h 361971"/>
                <a:gd name="connsiteX33" fmla="*/ 223009 w 362309"/>
                <a:gd name="connsiteY33" fmla="*/ 121296 h 361971"/>
                <a:gd name="connsiteX34" fmla="*/ 230677 w 362309"/>
                <a:gd name="connsiteY34" fmla="*/ 121296 h 361971"/>
                <a:gd name="connsiteX35" fmla="*/ 237067 w 362309"/>
                <a:gd name="connsiteY35" fmla="*/ 127680 h 361971"/>
                <a:gd name="connsiteX36" fmla="*/ 237067 w 362309"/>
                <a:gd name="connsiteY36" fmla="*/ 164068 h 361971"/>
                <a:gd name="connsiteX37" fmla="*/ 273489 w 362309"/>
                <a:gd name="connsiteY37" fmla="*/ 164068 h 361971"/>
                <a:gd name="connsiteX38" fmla="*/ 293937 w 362309"/>
                <a:gd name="connsiteY38" fmla="*/ 184497 h 361971"/>
                <a:gd name="connsiteX39" fmla="*/ 293937 w 362309"/>
                <a:gd name="connsiteY39" fmla="*/ 24131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93937" y="241315"/>
                  </a:moveTo>
                  <a:cubicBezTo>
                    <a:pt x="293937" y="245145"/>
                    <a:pt x="291381" y="247699"/>
                    <a:pt x="287547" y="247699"/>
                  </a:cubicBezTo>
                  <a:lnTo>
                    <a:pt x="264544" y="247699"/>
                  </a:lnTo>
                  <a:cubicBezTo>
                    <a:pt x="261349" y="258551"/>
                    <a:pt x="249846" y="264297"/>
                    <a:pt x="238984" y="261105"/>
                  </a:cubicBezTo>
                  <a:cubicBezTo>
                    <a:pt x="232594" y="259190"/>
                    <a:pt x="228121" y="254083"/>
                    <a:pt x="225565" y="247699"/>
                  </a:cubicBezTo>
                  <a:lnTo>
                    <a:pt x="143774" y="247699"/>
                  </a:lnTo>
                  <a:cubicBezTo>
                    <a:pt x="140579" y="258551"/>
                    <a:pt x="129077" y="264297"/>
                    <a:pt x="118214" y="261105"/>
                  </a:cubicBezTo>
                  <a:cubicBezTo>
                    <a:pt x="111824" y="259190"/>
                    <a:pt x="107351" y="254083"/>
                    <a:pt x="104795" y="247699"/>
                  </a:cubicBezTo>
                  <a:lnTo>
                    <a:pt x="88820" y="247699"/>
                  </a:lnTo>
                  <a:cubicBezTo>
                    <a:pt x="84986" y="247699"/>
                    <a:pt x="82430" y="245145"/>
                    <a:pt x="82430" y="241315"/>
                  </a:cubicBezTo>
                  <a:lnTo>
                    <a:pt x="82430" y="190881"/>
                  </a:lnTo>
                  <a:lnTo>
                    <a:pt x="74762" y="190881"/>
                  </a:lnTo>
                  <a:cubicBezTo>
                    <a:pt x="70928" y="190881"/>
                    <a:pt x="68372" y="188327"/>
                    <a:pt x="68372" y="184497"/>
                  </a:cubicBezTo>
                  <a:cubicBezTo>
                    <a:pt x="68372" y="180667"/>
                    <a:pt x="70928" y="178113"/>
                    <a:pt x="74762" y="178113"/>
                  </a:cubicBezTo>
                  <a:lnTo>
                    <a:pt x="82430" y="178113"/>
                  </a:lnTo>
                  <a:lnTo>
                    <a:pt x="82430" y="162792"/>
                  </a:lnTo>
                  <a:lnTo>
                    <a:pt x="74762" y="162792"/>
                  </a:lnTo>
                  <a:cubicBezTo>
                    <a:pt x="70928" y="162792"/>
                    <a:pt x="68372" y="160238"/>
                    <a:pt x="68372" y="156408"/>
                  </a:cubicBezTo>
                  <a:cubicBezTo>
                    <a:pt x="68372" y="152577"/>
                    <a:pt x="70928" y="150024"/>
                    <a:pt x="74762" y="150024"/>
                  </a:cubicBezTo>
                  <a:lnTo>
                    <a:pt x="82430" y="150024"/>
                  </a:lnTo>
                  <a:lnTo>
                    <a:pt x="82430" y="127680"/>
                  </a:lnTo>
                  <a:cubicBezTo>
                    <a:pt x="82430" y="123849"/>
                    <a:pt x="84986" y="121296"/>
                    <a:pt x="88820" y="121296"/>
                  </a:cubicBezTo>
                  <a:lnTo>
                    <a:pt x="182113" y="121296"/>
                  </a:lnTo>
                  <a:cubicBezTo>
                    <a:pt x="182113" y="121296"/>
                    <a:pt x="182113" y="120657"/>
                    <a:pt x="182113" y="120657"/>
                  </a:cubicBezTo>
                  <a:cubicBezTo>
                    <a:pt x="182113" y="109166"/>
                    <a:pt x="191059" y="100229"/>
                    <a:pt x="202561" y="100229"/>
                  </a:cubicBezTo>
                  <a:cubicBezTo>
                    <a:pt x="214063" y="100229"/>
                    <a:pt x="223009" y="109166"/>
                    <a:pt x="223009" y="120657"/>
                  </a:cubicBezTo>
                  <a:cubicBezTo>
                    <a:pt x="223009" y="120657"/>
                    <a:pt x="223009" y="121296"/>
                    <a:pt x="223009" y="121296"/>
                  </a:cubicBezTo>
                  <a:lnTo>
                    <a:pt x="230677" y="121296"/>
                  </a:lnTo>
                  <a:cubicBezTo>
                    <a:pt x="234511" y="121296"/>
                    <a:pt x="237067" y="123849"/>
                    <a:pt x="237067" y="127680"/>
                  </a:cubicBezTo>
                  <a:lnTo>
                    <a:pt x="237067" y="164068"/>
                  </a:lnTo>
                  <a:lnTo>
                    <a:pt x="273489" y="164068"/>
                  </a:lnTo>
                  <a:cubicBezTo>
                    <a:pt x="284991" y="164068"/>
                    <a:pt x="293937" y="173644"/>
                    <a:pt x="293937" y="184497"/>
                  </a:cubicBezTo>
                  <a:lnTo>
                    <a:pt x="293937" y="241315"/>
                  </a:lnTo>
                  <a:close/>
                </a:path>
              </a:pathLst>
            </a:custGeom>
            <a:grpFill/>
            <a:ln w="6390" cap="flat">
              <a:noFill/>
              <a:prstDash val="solid"/>
              <a:miter/>
            </a:ln>
          </p:spPr>
          <p:txBody>
            <a:bodyPr rtlCol="0" anchor="ctr"/>
            <a:lstStyle/>
            <a:p>
              <a:endParaRPr lang="en-US"/>
            </a:p>
          </p:txBody>
        </p:sp>
        <p:sp>
          <p:nvSpPr>
            <p:cNvPr id="187" name="Graphic 4">
              <a:extLst>
                <a:ext uri="{FF2B5EF4-FFF2-40B4-BE49-F238E27FC236}">
                  <a16:creationId xmlns:a16="http://schemas.microsoft.com/office/drawing/2014/main" id="{B5CFE610-C054-3332-9151-481E2AF888AF}"/>
                </a:ext>
              </a:extLst>
            </p:cNvPr>
            <p:cNvSpPr/>
            <p:nvPr/>
          </p:nvSpPr>
          <p:spPr>
            <a:xfrm>
              <a:off x="5336875" y="2126667"/>
              <a:ext cx="15335" cy="15321"/>
            </a:xfrm>
            <a:custGeom>
              <a:avLst/>
              <a:gdLst>
                <a:gd name="connsiteX0" fmla="*/ 7668 w 15335"/>
                <a:gd name="connsiteY0" fmla="*/ 0 h 15321"/>
                <a:gd name="connsiteX1" fmla="*/ 0 w 15335"/>
                <a:gd name="connsiteY1" fmla="*/ 7661 h 15321"/>
                <a:gd name="connsiteX2" fmla="*/ 7668 w 15335"/>
                <a:gd name="connsiteY2" fmla="*/ 15322 h 15321"/>
                <a:gd name="connsiteX3" fmla="*/ 15336 w 15335"/>
                <a:gd name="connsiteY3" fmla="*/ 7661 h 15321"/>
                <a:gd name="connsiteX4" fmla="*/ 15336 w 15335"/>
                <a:gd name="connsiteY4" fmla="*/ 7661 h 15321"/>
                <a:gd name="connsiteX5" fmla="*/ 7668 w 1533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192"/>
                    <a:pt x="11502" y="0"/>
                    <a:pt x="7668" y="0"/>
                  </a:cubicBezTo>
                  <a:close/>
                </a:path>
              </a:pathLst>
            </a:custGeom>
            <a:grpFill/>
            <a:ln w="6390" cap="flat">
              <a:noFill/>
              <a:prstDash val="solid"/>
              <a:miter/>
            </a:ln>
          </p:spPr>
          <p:txBody>
            <a:bodyPr rtlCol="0" anchor="ctr"/>
            <a:lstStyle/>
            <a:p>
              <a:endParaRPr lang="en-US"/>
            </a:p>
          </p:txBody>
        </p:sp>
      </p:grpSp>
      <p:sp>
        <p:nvSpPr>
          <p:cNvPr id="188" name="Graphic 4">
            <a:extLst>
              <a:ext uri="{FF2B5EF4-FFF2-40B4-BE49-F238E27FC236}">
                <a16:creationId xmlns:a16="http://schemas.microsoft.com/office/drawing/2014/main" id="{3DBE971A-626B-8A8D-7C2D-BE0477AA5086}"/>
              </a:ext>
            </a:extLst>
          </p:cNvPr>
          <p:cNvSpPr>
            <a:spLocks/>
          </p:cNvSpPr>
          <p:nvPr/>
        </p:nvSpPr>
        <p:spPr>
          <a:xfrm>
            <a:off x="6609832" y="2712211"/>
            <a:ext cx="540000" cy="540000"/>
          </a:xfrm>
          <a:custGeom>
            <a:avLst/>
            <a:gdLst>
              <a:gd name="connsiteX0" fmla="*/ 180836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362310 w 362309"/>
              <a:gd name="connsiteY4" fmla="*/ 180667 h 361971"/>
              <a:gd name="connsiteX5" fmla="*/ 180836 w 362309"/>
              <a:gd name="connsiteY5" fmla="*/ 0 h 361971"/>
              <a:gd name="connsiteX6" fmla="*/ 180836 w 362309"/>
              <a:gd name="connsiteY6" fmla="*/ 0 h 361971"/>
              <a:gd name="connsiteX7" fmla="*/ 74124 w 362309"/>
              <a:gd name="connsiteY7" fmla="*/ 180667 h 361971"/>
              <a:gd name="connsiteX8" fmla="*/ 80513 w 362309"/>
              <a:gd name="connsiteY8" fmla="*/ 174283 h 361971"/>
              <a:gd name="connsiteX9" fmla="*/ 194254 w 362309"/>
              <a:gd name="connsiteY9" fmla="*/ 174283 h 361971"/>
              <a:gd name="connsiteX10" fmla="*/ 174446 w 362309"/>
              <a:gd name="connsiteY10" fmla="*/ 155131 h 361971"/>
              <a:gd name="connsiteX11" fmla="*/ 174446 w 362309"/>
              <a:gd name="connsiteY11" fmla="*/ 146193 h 361971"/>
              <a:gd name="connsiteX12" fmla="*/ 183391 w 362309"/>
              <a:gd name="connsiteY12" fmla="*/ 146193 h 361971"/>
              <a:gd name="connsiteX13" fmla="*/ 183391 w 362309"/>
              <a:gd name="connsiteY13" fmla="*/ 146193 h 361971"/>
              <a:gd name="connsiteX14" fmla="*/ 214063 w 362309"/>
              <a:gd name="connsiteY14" fmla="*/ 176836 h 361971"/>
              <a:gd name="connsiteX15" fmla="*/ 215341 w 362309"/>
              <a:gd name="connsiteY15" fmla="*/ 178752 h 361971"/>
              <a:gd name="connsiteX16" fmla="*/ 215341 w 362309"/>
              <a:gd name="connsiteY16" fmla="*/ 183859 h 361971"/>
              <a:gd name="connsiteX17" fmla="*/ 214063 w 362309"/>
              <a:gd name="connsiteY17" fmla="*/ 185774 h 361971"/>
              <a:gd name="connsiteX18" fmla="*/ 183391 w 362309"/>
              <a:gd name="connsiteY18" fmla="*/ 216417 h 361971"/>
              <a:gd name="connsiteX19" fmla="*/ 174446 w 362309"/>
              <a:gd name="connsiteY19" fmla="*/ 216417 h 361971"/>
              <a:gd name="connsiteX20" fmla="*/ 174446 w 362309"/>
              <a:gd name="connsiteY20" fmla="*/ 216417 h 361971"/>
              <a:gd name="connsiteX21" fmla="*/ 174446 w 362309"/>
              <a:gd name="connsiteY21" fmla="*/ 207479 h 361971"/>
              <a:gd name="connsiteX22" fmla="*/ 174446 w 362309"/>
              <a:gd name="connsiteY22" fmla="*/ 207479 h 361971"/>
              <a:gd name="connsiteX23" fmla="*/ 194254 w 362309"/>
              <a:gd name="connsiteY23" fmla="*/ 187689 h 361971"/>
              <a:gd name="connsiteX24" fmla="*/ 80513 w 362309"/>
              <a:gd name="connsiteY24" fmla="*/ 187689 h 361971"/>
              <a:gd name="connsiteX25" fmla="*/ 74124 w 362309"/>
              <a:gd name="connsiteY25" fmla="*/ 180667 h 361971"/>
              <a:gd name="connsiteX26" fmla="*/ 261987 w 362309"/>
              <a:gd name="connsiteY26" fmla="*/ 287279 h 361971"/>
              <a:gd name="connsiteX27" fmla="*/ 255597 w 362309"/>
              <a:gd name="connsiteY27" fmla="*/ 293663 h 361971"/>
              <a:gd name="connsiteX28" fmla="*/ 141218 w 362309"/>
              <a:gd name="connsiteY28" fmla="*/ 293663 h 361971"/>
              <a:gd name="connsiteX29" fmla="*/ 134828 w 362309"/>
              <a:gd name="connsiteY29" fmla="*/ 287279 h 361971"/>
              <a:gd name="connsiteX30" fmla="*/ 134828 w 362309"/>
              <a:gd name="connsiteY30" fmla="*/ 218971 h 361971"/>
              <a:gd name="connsiteX31" fmla="*/ 141218 w 362309"/>
              <a:gd name="connsiteY31" fmla="*/ 212587 h 361971"/>
              <a:gd name="connsiteX32" fmla="*/ 147608 w 362309"/>
              <a:gd name="connsiteY32" fmla="*/ 218971 h 361971"/>
              <a:gd name="connsiteX33" fmla="*/ 147608 w 362309"/>
              <a:gd name="connsiteY33" fmla="*/ 280895 h 361971"/>
              <a:gd name="connsiteX34" fmla="*/ 249208 w 362309"/>
              <a:gd name="connsiteY34" fmla="*/ 280895 h 361971"/>
              <a:gd name="connsiteX35" fmla="*/ 249208 w 362309"/>
              <a:gd name="connsiteY35" fmla="*/ 80438 h 361971"/>
              <a:gd name="connsiteX36" fmla="*/ 147608 w 362309"/>
              <a:gd name="connsiteY36" fmla="*/ 80438 h 361971"/>
              <a:gd name="connsiteX37" fmla="*/ 147608 w 362309"/>
              <a:gd name="connsiteY37" fmla="*/ 142363 h 361971"/>
              <a:gd name="connsiteX38" fmla="*/ 141218 w 362309"/>
              <a:gd name="connsiteY38" fmla="*/ 148747 h 361971"/>
              <a:gd name="connsiteX39" fmla="*/ 134828 w 362309"/>
              <a:gd name="connsiteY39" fmla="*/ 142363 h 361971"/>
              <a:gd name="connsiteX40" fmla="*/ 134828 w 362309"/>
              <a:gd name="connsiteY40" fmla="*/ 74054 h 361971"/>
              <a:gd name="connsiteX41" fmla="*/ 141218 w 362309"/>
              <a:gd name="connsiteY41" fmla="*/ 67670 h 361971"/>
              <a:gd name="connsiteX42" fmla="*/ 255597 w 362309"/>
              <a:gd name="connsiteY42" fmla="*/ 67670 h 361971"/>
              <a:gd name="connsiteX43" fmla="*/ 261987 w 362309"/>
              <a:gd name="connsiteY43" fmla="*/ 74054 h 361971"/>
              <a:gd name="connsiteX44" fmla="*/ 261987 w 362309"/>
              <a:gd name="connsiteY44" fmla="*/ 2872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0836" y="0"/>
                </a:moveTo>
                <a:cubicBezTo>
                  <a:pt x="80513" y="0"/>
                  <a:pt x="0" y="81076"/>
                  <a:pt x="0" y="181305"/>
                </a:cubicBezTo>
                <a:cubicBezTo>
                  <a:pt x="0" y="281533"/>
                  <a:pt x="81152" y="361972"/>
                  <a:pt x="181474" y="361972"/>
                </a:cubicBezTo>
                <a:cubicBezTo>
                  <a:pt x="281796" y="361972"/>
                  <a:pt x="362310" y="280895"/>
                  <a:pt x="362310" y="180667"/>
                </a:cubicBezTo>
                <a:cubicBezTo>
                  <a:pt x="362310" y="180667"/>
                  <a:pt x="362310" y="180667"/>
                  <a:pt x="362310" y="180667"/>
                </a:cubicBezTo>
                <a:cubicBezTo>
                  <a:pt x="361671" y="80438"/>
                  <a:pt x="280518" y="0"/>
                  <a:pt x="180836" y="0"/>
                </a:cubicBezTo>
                <a:cubicBezTo>
                  <a:pt x="180836" y="0"/>
                  <a:pt x="180836" y="0"/>
                  <a:pt x="180836" y="0"/>
                </a:cubicBezTo>
                <a:close/>
                <a:moveTo>
                  <a:pt x="74124" y="180667"/>
                </a:moveTo>
                <a:cubicBezTo>
                  <a:pt x="74124" y="176836"/>
                  <a:pt x="76679" y="174283"/>
                  <a:pt x="80513" y="174283"/>
                </a:cubicBezTo>
                <a:lnTo>
                  <a:pt x="194254" y="174283"/>
                </a:lnTo>
                <a:lnTo>
                  <a:pt x="174446" y="155131"/>
                </a:lnTo>
                <a:cubicBezTo>
                  <a:pt x="171889" y="152577"/>
                  <a:pt x="171889" y="148747"/>
                  <a:pt x="174446" y="146193"/>
                </a:cubicBezTo>
                <a:cubicBezTo>
                  <a:pt x="177001" y="143640"/>
                  <a:pt x="180836" y="143640"/>
                  <a:pt x="183391" y="146193"/>
                </a:cubicBezTo>
                <a:cubicBezTo>
                  <a:pt x="183391" y="146193"/>
                  <a:pt x="183391" y="146193"/>
                  <a:pt x="183391" y="146193"/>
                </a:cubicBezTo>
                <a:lnTo>
                  <a:pt x="214063" y="176836"/>
                </a:lnTo>
                <a:cubicBezTo>
                  <a:pt x="214702" y="177475"/>
                  <a:pt x="215341" y="178113"/>
                  <a:pt x="215341" y="178752"/>
                </a:cubicBezTo>
                <a:cubicBezTo>
                  <a:pt x="215980" y="180028"/>
                  <a:pt x="215980" y="181944"/>
                  <a:pt x="215341" y="183859"/>
                </a:cubicBezTo>
                <a:cubicBezTo>
                  <a:pt x="214702" y="184497"/>
                  <a:pt x="214702" y="185135"/>
                  <a:pt x="214063" y="185774"/>
                </a:cubicBezTo>
                <a:lnTo>
                  <a:pt x="183391" y="216417"/>
                </a:lnTo>
                <a:cubicBezTo>
                  <a:pt x="180836" y="218971"/>
                  <a:pt x="177001" y="218971"/>
                  <a:pt x="174446" y="216417"/>
                </a:cubicBezTo>
                <a:cubicBezTo>
                  <a:pt x="174446" y="216417"/>
                  <a:pt x="174446" y="216417"/>
                  <a:pt x="174446" y="216417"/>
                </a:cubicBezTo>
                <a:cubicBezTo>
                  <a:pt x="171889" y="213863"/>
                  <a:pt x="171889" y="210033"/>
                  <a:pt x="174446" y="207479"/>
                </a:cubicBezTo>
                <a:cubicBezTo>
                  <a:pt x="174446" y="207479"/>
                  <a:pt x="174446" y="207479"/>
                  <a:pt x="174446" y="207479"/>
                </a:cubicBezTo>
                <a:lnTo>
                  <a:pt x="194254" y="187689"/>
                </a:lnTo>
                <a:lnTo>
                  <a:pt x="80513" y="187689"/>
                </a:lnTo>
                <a:cubicBezTo>
                  <a:pt x="76679" y="187051"/>
                  <a:pt x="74124" y="184497"/>
                  <a:pt x="74124" y="180667"/>
                </a:cubicBezTo>
                <a:close/>
                <a:moveTo>
                  <a:pt x="261987" y="287279"/>
                </a:moveTo>
                <a:cubicBezTo>
                  <a:pt x="261987" y="291109"/>
                  <a:pt x="259432" y="293663"/>
                  <a:pt x="255597" y="293663"/>
                </a:cubicBezTo>
                <a:lnTo>
                  <a:pt x="141218" y="293663"/>
                </a:lnTo>
                <a:cubicBezTo>
                  <a:pt x="137384" y="293663"/>
                  <a:pt x="134828" y="291109"/>
                  <a:pt x="134828" y="287279"/>
                </a:cubicBezTo>
                <a:lnTo>
                  <a:pt x="134828" y="218971"/>
                </a:lnTo>
                <a:cubicBezTo>
                  <a:pt x="134828" y="215140"/>
                  <a:pt x="137384" y="212587"/>
                  <a:pt x="141218" y="212587"/>
                </a:cubicBezTo>
                <a:cubicBezTo>
                  <a:pt x="145052" y="212587"/>
                  <a:pt x="147608" y="215140"/>
                  <a:pt x="147608" y="218971"/>
                </a:cubicBezTo>
                <a:lnTo>
                  <a:pt x="147608" y="280895"/>
                </a:lnTo>
                <a:lnTo>
                  <a:pt x="249208" y="280895"/>
                </a:lnTo>
                <a:lnTo>
                  <a:pt x="249208" y="80438"/>
                </a:lnTo>
                <a:lnTo>
                  <a:pt x="147608" y="80438"/>
                </a:lnTo>
                <a:lnTo>
                  <a:pt x="147608" y="142363"/>
                </a:lnTo>
                <a:cubicBezTo>
                  <a:pt x="147608" y="146193"/>
                  <a:pt x="145052" y="148747"/>
                  <a:pt x="141218" y="148747"/>
                </a:cubicBezTo>
                <a:cubicBezTo>
                  <a:pt x="137384" y="148747"/>
                  <a:pt x="134828" y="146193"/>
                  <a:pt x="134828" y="142363"/>
                </a:cubicBezTo>
                <a:lnTo>
                  <a:pt x="134828" y="74054"/>
                </a:lnTo>
                <a:cubicBezTo>
                  <a:pt x="134828" y="70224"/>
                  <a:pt x="137384" y="67670"/>
                  <a:pt x="141218" y="67670"/>
                </a:cubicBezTo>
                <a:lnTo>
                  <a:pt x="255597" y="67670"/>
                </a:lnTo>
                <a:cubicBezTo>
                  <a:pt x="259432" y="67670"/>
                  <a:pt x="261987" y="70224"/>
                  <a:pt x="261987" y="74054"/>
                </a:cubicBezTo>
                <a:lnTo>
                  <a:pt x="261987" y="287279"/>
                </a:lnTo>
                <a:close/>
              </a:path>
            </a:pathLst>
          </a:custGeom>
          <a:solidFill>
            <a:schemeClr val="accent1">
              <a:lumMod val="60000"/>
              <a:lumOff val="40000"/>
            </a:schemeClr>
          </a:solidFill>
          <a:ln w="6390" cap="flat">
            <a:noFill/>
            <a:prstDash val="solid"/>
            <a:miter/>
          </a:ln>
        </p:spPr>
        <p:txBody>
          <a:bodyPr rtlCol="0" anchor="ctr"/>
          <a:lstStyle/>
          <a:p>
            <a:endParaRPr lang="en-US"/>
          </a:p>
        </p:txBody>
      </p:sp>
      <p:grpSp>
        <p:nvGrpSpPr>
          <p:cNvPr id="189" name="Graphic 4">
            <a:extLst>
              <a:ext uri="{FF2B5EF4-FFF2-40B4-BE49-F238E27FC236}">
                <a16:creationId xmlns:a16="http://schemas.microsoft.com/office/drawing/2014/main" id="{8F156E77-6307-5129-5A58-CCB78737A00B}"/>
              </a:ext>
            </a:extLst>
          </p:cNvPr>
          <p:cNvGrpSpPr>
            <a:grpSpLocks/>
          </p:cNvGrpSpPr>
          <p:nvPr/>
        </p:nvGrpSpPr>
        <p:grpSpPr>
          <a:xfrm>
            <a:off x="6610151" y="3739602"/>
            <a:ext cx="540014" cy="539988"/>
            <a:chOff x="8239823" y="3824168"/>
            <a:chExt cx="361674" cy="361971"/>
          </a:xfrm>
          <a:solidFill>
            <a:schemeClr val="accent5"/>
          </a:solidFill>
        </p:grpSpPr>
        <p:sp>
          <p:nvSpPr>
            <p:cNvPr id="190" name="Graphic 4">
              <a:extLst>
                <a:ext uri="{FF2B5EF4-FFF2-40B4-BE49-F238E27FC236}">
                  <a16:creationId xmlns:a16="http://schemas.microsoft.com/office/drawing/2014/main" id="{D33C5077-B4B8-1A4E-11A8-018D5358EA54}"/>
                </a:ext>
              </a:extLst>
            </p:cNvPr>
            <p:cNvSpPr/>
            <p:nvPr/>
          </p:nvSpPr>
          <p:spPr>
            <a:xfrm>
              <a:off x="8455164" y="4050160"/>
              <a:ext cx="11501" cy="9575"/>
            </a:xfrm>
            <a:custGeom>
              <a:avLst/>
              <a:gdLst>
                <a:gd name="connsiteX0" fmla="*/ 0 w 11501"/>
                <a:gd name="connsiteY0" fmla="*/ 0 h 9575"/>
                <a:gd name="connsiteX1" fmla="*/ 11502 w 11501"/>
                <a:gd name="connsiteY1" fmla="*/ 0 h 9575"/>
                <a:gd name="connsiteX2" fmla="*/ 11502 w 11501"/>
                <a:gd name="connsiteY2" fmla="*/ 9576 h 9575"/>
                <a:gd name="connsiteX3" fmla="*/ 0 w 11501"/>
                <a:gd name="connsiteY3" fmla="*/ 9576 h 9575"/>
              </a:gdLst>
              <a:ahLst/>
              <a:cxnLst>
                <a:cxn ang="0">
                  <a:pos x="connsiteX0" y="connsiteY0"/>
                </a:cxn>
                <a:cxn ang="0">
                  <a:pos x="connsiteX1" y="connsiteY1"/>
                </a:cxn>
                <a:cxn ang="0">
                  <a:pos x="connsiteX2" y="connsiteY2"/>
                </a:cxn>
                <a:cxn ang="0">
                  <a:pos x="connsiteX3" y="connsiteY3"/>
                </a:cxn>
              </a:cxnLst>
              <a:rect l="l" t="t" r="r" b="b"/>
              <a:pathLst>
                <a:path w="11501" h="9575">
                  <a:moveTo>
                    <a:pt x="0" y="0"/>
                  </a:moveTo>
                  <a:lnTo>
                    <a:pt x="11502" y="0"/>
                  </a:lnTo>
                  <a:lnTo>
                    <a:pt x="11502" y="9576"/>
                  </a:lnTo>
                  <a:lnTo>
                    <a:pt x="0" y="9576"/>
                  </a:lnTo>
                  <a:close/>
                </a:path>
              </a:pathLst>
            </a:custGeom>
            <a:grpFill/>
            <a:ln w="6390" cap="flat">
              <a:noFill/>
              <a:prstDash val="solid"/>
              <a:miter/>
            </a:ln>
          </p:spPr>
          <p:txBody>
            <a:bodyPr rtlCol="0" anchor="ctr"/>
            <a:lstStyle/>
            <a:p>
              <a:endParaRPr lang="en-US"/>
            </a:p>
          </p:txBody>
        </p:sp>
        <p:sp>
          <p:nvSpPr>
            <p:cNvPr id="191" name="Graphic 4">
              <a:extLst>
                <a:ext uri="{FF2B5EF4-FFF2-40B4-BE49-F238E27FC236}">
                  <a16:creationId xmlns:a16="http://schemas.microsoft.com/office/drawing/2014/main" id="{86E2E67B-6198-46CB-5C5F-A2E68C1BBEBA}"/>
                </a:ext>
              </a:extLst>
            </p:cNvPr>
            <p:cNvSpPr/>
            <p:nvPr/>
          </p:nvSpPr>
          <p:spPr>
            <a:xfrm>
              <a:off x="8441106" y="4007388"/>
              <a:ext cx="39617" cy="9575"/>
            </a:xfrm>
            <a:custGeom>
              <a:avLst/>
              <a:gdLst>
                <a:gd name="connsiteX0" fmla="*/ 19809 w 39617"/>
                <a:gd name="connsiteY0" fmla="*/ 0 h 9575"/>
                <a:gd name="connsiteX1" fmla="*/ 0 w 39617"/>
                <a:gd name="connsiteY1" fmla="*/ 9576 h 9575"/>
                <a:gd name="connsiteX2" fmla="*/ 39617 w 39617"/>
                <a:gd name="connsiteY2" fmla="*/ 9576 h 9575"/>
                <a:gd name="connsiteX3" fmla="*/ 19809 w 39617"/>
                <a:gd name="connsiteY3" fmla="*/ 0 h 9575"/>
              </a:gdLst>
              <a:ahLst/>
              <a:cxnLst>
                <a:cxn ang="0">
                  <a:pos x="connsiteX0" y="connsiteY0"/>
                </a:cxn>
                <a:cxn ang="0">
                  <a:pos x="connsiteX1" y="connsiteY1"/>
                </a:cxn>
                <a:cxn ang="0">
                  <a:pos x="connsiteX2" y="connsiteY2"/>
                </a:cxn>
                <a:cxn ang="0">
                  <a:pos x="connsiteX3" y="connsiteY3"/>
                </a:cxn>
              </a:cxnLst>
              <a:rect l="l" t="t" r="r" b="b"/>
              <a:pathLst>
                <a:path w="39617" h="9575">
                  <a:moveTo>
                    <a:pt x="19809" y="0"/>
                  </a:moveTo>
                  <a:cubicBezTo>
                    <a:pt x="7029" y="0"/>
                    <a:pt x="1917" y="5107"/>
                    <a:pt x="0" y="9576"/>
                  </a:cubicBezTo>
                  <a:lnTo>
                    <a:pt x="39617" y="9576"/>
                  </a:lnTo>
                  <a:cubicBezTo>
                    <a:pt x="37701" y="5107"/>
                    <a:pt x="32589" y="0"/>
                    <a:pt x="19809" y="0"/>
                  </a:cubicBezTo>
                  <a:close/>
                </a:path>
              </a:pathLst>
            </a:custGeom>
            <a:grpFill/>
            <a:ln w="6390" cap="flat">
              <a:noFill/>
              <a:prstDash val="solid"/>
              <a:miter/>
            </a:ln>
          </p:spPr>
          <p:txBody>
            <a:bodyPr rtlCol="0" anchor="ctr"/>
            <a:lstStyle/>
            <a:p>
              <a:endParaRPr lang="en-US"/>
            </a:p>
          </p:txBody>
        </p:sp>
        <p:sp>
          <p:nvSpPr>
            <p:cNvPr id="256" name="Graphic 4">
              <a:extLst>
                <a:ext uri="{FF2B5EF4-FFF2-40B4-BE49-F238E27FC236}">
                  <a16:creationId xmlns:a16="http://schemas.microsoft.com/office/drawing/2014/main" id="{CD8D7777-5E5D-290B-7774-80701B363316}"/>
                </a:ext>
              </a:extLst>
            </p:cNvPr>
            <p:cNvSpPr/>
            <p:nvPr/>
          </p:nvSpPr>
          <p:spPr>
            <a:xfrm>
              <a:off x="8318420" y="3933972"/>
              <a:ext cx="42173" cy="42134"/>
            </a:xfrm>
            <a:custGeom>
              <a:avLst/>
              <a:gdLst>
                <a:gd name="connsiteX0" fmla="*/ 21086 w 42173"/>
                <a:gd name="connsiteY0" fmla="*/ 42135 h 42134"/>
                <a:gd name="connsiteX1" fmla="*/ 42173 w 42173"/>
                <a:gd name="connsiteY1" fmla="*/ 21067 h 42134"/>
                <a:gd name="connsiteX2" fmla="*/ 21086 w 42173"/>
                <a:gd name="connsiteY2" fmla="*/ 0 h 42134"/>
                <a:gd name="connsiteX3" fmla="*/ 0 w 42173"/>
                <a:gd name="connsiteY3" fmla="*/ 21067 h 42134"/>
                <a:gd name="connsiteX4" fmla="*/ 0 w 42173"/>
                <a:gd name="connsiteY4" fmla="*/ 21067 h 42134"/>
                <a:gd name="connsiteX5" fmla="*/ 21086 w 42173"/>
                <a:gd name="connsiteY5" fmla="*/ 42135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3" h="42134">
                  <a:moveTo>
                    <a:pt x="21086" y="42135"/>
                  </a:moveTo>
                  <a:cubicBezTo>
                    <a:pt x="32589" y="42135"/>
                    <a:pt x="42173" y="32559"/>
                    <a:pt x="42173" y="21067"/>
                  </a:cubicBezTo>
                  <a:cubicBezTo>
                    <a:pt x="42173" y="9576"/>
                    <a:pt x="32589" y="0"/>
                    <a:pt x="21086" y="0"/>
                  </a:cubicBezTo>
                  <a:cubicBezTo>
                    <a:pt x="9585" y="0"/>
                    <a:pt x="0" y="9576"/>
                    <a:pt x="0" y="21067"/>
                  </a:cubicBezTo>
                  <a:lnTo>
                    <a:pt x="0" y="21067"/>
                  </a:lnTo>
                  <a:cubicBezTo>
                    <a:pt x="0" y="33197"/>
                    <a:pt x="9585" y="42135"/>
                    <a:pt x="21086" y="42135"/>
                  </a:cubicBezTo>
                  <a:close/>
                </a:path>
              </a:pathLst>
            </a:custGeom>
            <a:grpFill/>
            <a:ln w="6390" cap="flat">
              <a:noFill/>
              <a:prstDash val="solid"/>
              <a:miter/>
            </a:ln>
          </p:spPr>
          <p:txBody>
            <a:bodyPr rtlCol="0" anchor="ctr"/>
            <a:lstStyle/>
            <a:p>
              <a:endParaRPr lang="en-US"/>
            </a:p>
          </p:txBody>
        </p:sp>
        <p:sp>
          <p:nvSpPr>
            <p:cNvPr id="257" name="Graphic 4">
              <a:extLst>
                <a:ext uri="{FF2B5EF4-FFF2-40B4-BE49-F238E27FC236}">
                  <a16:creationId xmlns:a16="http://schemas.microsoft.com/office/drawing/2014/main" id="{FB7E6CFE-5B44-C22D-BF8B-9B4DC43BE78A}"/>
                </a:ext>
              </a:extLst>
            </p:cNvPr>
            <p:cNvSpPr/>
            <p:nvPr/>
          </p:nvSpPr>
          <p:spPr>
            <a:xfrm>
              <a:off x="8239823" y="3824168"/>
              <a:ext cx="361674" cy="361971"/>
            </a:xfrm>
            <a:custGeom>
              <a:avLst/>
              <a:gdLst>
                <a:gd name="connsiteX0" fmla="*/ 180836 w 361674"/>
                <a:gd name="connsiteY0" fmla="*/ 0 h 361971"/>
                <a:gd name="connsiteX1" fmla="*/ 0 w 361674"/>
                <a:gd name="connsiteY1" fmla="*/ 180667 h 361971"/>
                <a:gd name="connsiteX2" fmla="*/ 180836 w 361674"/>
                <a:gd name="connsiteY2" fmla="*/ 361971 h 361971"/>
                <a:gd name="connsiteX3" fmla="*/ 361670 w 361674"/>
                <a:gd name="connsiteY3" fmla="*/ 181305 h 361971"/>
                <a:gd name="connsiteX4" fmla="*/ 361670 w 361674"/>
                <a:gd name="connsiteY4" fmla="*/ 181305 h 361971"/>
                <a:gd name="connsiteX5" fmla="*/ 180836 w 361674"/>
                <a:gd name="connsiteY5" fmla="*/ 0 h 361971"/>
                <a:gd name="connsiteX6" fmla="*/ 99683 w 361674"/>
                <a:gd name="connsiteY6" fmla="*/ 97036 h 361971"/>
                <a:gd name="connsiteX7" fmla="*/ 133550 w 361674"/>
                <a:gd name="connsiteY7" fmla="*/ 130872 h 361971"/>
                <a:gd name="connsiteX8" fmla="*/ 99683 w 361674"/>
                <a:gd name="connsiteY8" fmla="*/ 164707 h 361971"/>
                <a:gd name="connsiteX9" fmla="*/ 65817 w 361674"/>
                <a:gd name="connsiteY9" fmla="*/ 130872 h 361971"/>
                <a:gd name="connsiteX10" fmla="*/ 65817 w 361674"/>
                <a:gd name="connsiteY10" fmla="*/ 130872 h 361971"/>
                <a:gd name="connsiteX11" fmla="*/ 99683 w 361674"/>
                <a:gd name="connsiteY11" fmla="*/ 97036 h 361971"/>
                <a:gd name="connsiteX12" fmla="*/ 203200 w 361674"/>
                <a:gd name="connsiteY12" fmla="*/ 263658 h 361971"/>
                <a:gd name="connsiteX13" fmla="*/ 203200 w 361674"/>
                <a:gd name="connsiteY13" fmla="*/ 264297 h 361971"/>
                <a:gd name="connsiteX14" fmla="*/ 185947 w 361674"/>
                <a:gd name="connsiteY14" fmla="*/ 277703 h 361971"/>
                <a:gd name="connsiteX15" fmla="*/ 184031 w 361674"/>
                <a:gd name="connsiteY15" fmla="*/ 277703 h 361971"/>
                <a:gd name="connsiteX16" fmla="*/ 138661 w 361674"/>
                <a:gd name="connsiteY16" fmla="*/ 271319 h 361971"/>
                <a:gd name="connsiteX17" fmla="*/ 138022 w 361674"/>
                <a:gd name="connsiteY17" fmla="*/ 271319 h 361971"/>
                <a:gd name="connsiteX18" fmla="*/ 138022 w 361674"/>
                <a:gd name="connsiteY18" fmla="*/ 293025 h 361971"/>
                <a:gd name="connsiteX19" fmla="*/ 131633 w 361674"/>
                <a:gd name="connsiteY19" fmla="*/ 299409 h 361971"/>
                <a:gd name="connsiteX20" fmla="*/ 125243 w 361674"/>
                <a:gd name="connsiteY20" fmla="*/ 293025 h 361971"/>
                <a:gd name="connsiteX21" fmla="*/ 125243 w 361674"/>
                <a:gd name="connsiteY21" fmla="*/ 265574 h 361971"/>
                <a:gd name="connsiteX22" fmla="*/ 118214 w 361674"/>
                <a:gd name="connsiteY22" fmla="*/ 250252 h 361971"/>
                <a:gd name="connsiteX23" fmla="*/ 116936 w 361674"/>
                <a:gd name="connsiteY23" fmla="*/ 211310 h 361971"/>
                <a:gd name="connsiteX24" fmla="*/ 123326 w 361674"/>
                <a:gd name="connsiteY24" fmla="*/ 204926 h 361971"/>
                <a:gd name="connsiteX25" fmla="*/ 129716 w 361674"/>
                <a:gd name="connsiteY25" fmla="*/ 211310 h 361971"/>
                <a:gd name="connsiteX26" fmla="*/ 130994 w 361674"/>
                <a:gd name="connsiteY26" fmla="*/ 250252 h 361971"/>
                <a:gd name="connsiteX27" fmla="*/ 139940 w 361674"/>
                <a:gd name="connsiteY27" fmla="*/ 260466 h 361971"/>
                <a:gd name="connsiteX28" fmla="*/ 185308 w 361674"/>
                <a:gd name="connsiteY28" fmla="*/ 266850 h 361971"/>
                <a:gd name="connsiteX29" fmla="*/ 190420 w 361674"/>
                <a:gd name="connsiteY29" fmla="*/ 263658 h 361971"/>
                <a:gd name="connsiteX30" fmla="*/ 185947 w 361674"/>
                <a:gd name="connsiteY30" fmla="*/ 257274 h 361971"/>
                <a:gd name="connsiteX31" fmla="*/ 185947 w 361674"/>
                <a:gd name="connsiteY31" fmla="*/ 257274 h 361971"/>
                <a:gd name="connsiteX32" fmla="*/ 152720 w 361674"/>
                <a:gd name="connsiteY32" fmla="*/ 252806 h 361971"/>
                <a:gd name="connsiteX33" fmla="*/ 146969 w 361674"/>
                <a:gd name="connsiteY33" fmla="*/ 246422 h 361971"/>
                <a:gd name="connsiteX34" fmla="*/ 145691 w 361674"/>
                <a:gd name="connsiteY34" fmla="*/ 213225 h 361971"/>
                <a:gd name="connsiteX35" fmla="*/ 114380 w 361674"/>
                <a:gd name="connsiteY35" fmla="*/ 184497 h 361971"/>
                <a:gd name="connsiteX36" fmla="*/ 74123 w 361674"/>
                <a:gd name="connsiteY36" fmla="*/ 184497 h 361971"/>
                <a:gd name="connsiteX37" fmla="*/ 68372 w 361674"/>
                <a:gd name="connsiteY37" fmla="*/ 186412 h 361971"/>
                <a:gd name="connsiteX38" fmla="*/ 60066 w 361674"/>
                <a:gd name="connsiteY38" fmla="*/ 182582 h 361971"/>
                <a:gd name="connsiteX39" fmla="*/ 60066 w 361674"/>
                <a:gd name="connsiteY39" fmla="*/ 182582 h 361971"/>
                <a:gd name="connsiteX40" fmla="*/ 63899 w 361674"/>
                <a:gd name="connsiteY40" fmla="*/ 174283 h 361971"/>
                <a:gd name="connsiteX41" fmla="*/ 63899 w 361674"/>
                <a:gd name="connsiteY41" fmla="*/ 174283 h 361971"/>
                <a:gd name="connsiteX42" fmla="*/ 71567 w 361674"/>
                <a:gd name="connsiteY42" fmla="*/ 171729 h 361971"/>
                <a:gd name="connsiteX43" fmla="*/ 116297 w 361674"/>
                <a:gd name="connsiteY43" fmla="*/ 171729 h 361971"/>
                <a:gd name="connsiteX44" fmla="*/ 158471 w 361674"/>
                <a:gd name="connsiteY44" fmla="*/ 213225 h 361971"/>
                <a:gd name="connsiteX45" fmla="*/ 159748 w 361674"/>
                <a:gd name="connsiteY45" fmla="*/ 241314 h 361971"/>
                <a:gd name="connsiteX46" fmla="*/ 187864 w 361674"/>
                <a:gd name="connsiteY46" fmla="*/ 245145 h 361971"/>
                <a:gd name="connsiteX47" fmla="*/ 203200 w 361674"/>
                <a:gd name="connsiteY47" fmla="*/ 263658 h 361971"/>
                <a:gd name="connsiteX48" fmla="*/ 302244 w 361674"/>
                <a:gd name="connsiteY48" fmla="*/ 204926 h 361971"/>
                <a:gd name="connsiteX49" fmla="*/ 281157 w 361674"/>
                <a:gd name="connsiteY49" fmla="*/ 225993 h 361971"/>
                <a:gd name="connsiteX50" fmla="*/ 239623 w 361674"/>
                <a:gd name="connsiteY50" fmla="*/ 225993 h 361971"/>
                <a:gd name="connsiteX51" fmla="*/ 239623 w 361674"/>
                <a:gd name="connsiteY51" fmla="*/ 235569 h 361971"/>
                <a:gd name="connsiteX52" fmla="*/ 295854 w 361674"/>
                <a:gd name="connsiteY52" fmla="*/ 235569 h 361971"/>
                <a:gd name="connsiteX53" fmla="*/ 302244 w 361674"/>
                <a:gd name="connsiteY53" fmla="*/ 241953 h 361971"/>
                <a:gd name="connsiteX54" fmla="*/ 295854 w 361674"/>
                <a:gd name="connsiteY54" fmla="*/ 248337 h 361971"/>
                <a:gd name="connsiteX55" fmla="*/ 208951 w 361674"/>
                <a:gd name="connsiteY55" fmla="*/ 248337 h 361971"/>
                <a:gd name="connsiteX56" fmla="*/ 202561 w 361674"/>
                <a:gd name="connsiteY56" fmla="*/ 241953 h 361971"/>
                <a:gd name="connsiteX57" fmla="*/ 202561 w 361674"/>
                <a:gd name="connsiteY57" fmla="*/ 225993 h 361971"/>
                <a:gd name="connsiteX58" fmla="*/ 175084 w 361674"/>
                <a:gd name="connsiteY58" fmla="*/ 225993 h 361971"/>
                <a:gd name="connsiteX59" fmla="*/ 168695 w 361674"/>
                <a:gd name="connsiteY59" fmla="*/ 219609 h 361971"/>
                <a:gd name="connsiteX60" fmla="*/ 175084 w 361674"/>
                <a:gd name="connsiteY60" fmla="*/ 213225 h 361971"/>
                <a:gd name="connsiteX61" fmla="*/ 281157 w 361674"/>
                <a:gd name="connsiteY61" fmla="*/ 213225 h 361971"/>
                <a:gd name="connsiteX62" fmla="*/ 289464 w 361674"/>
                <a:gd name="connsiteY62" fmla="*/ 205564 h 361971"/>
                <a:gd name="connsiteX63" fmla="*/ 175084 w 361674"/>
                <a:gd name="connsiteY63" fmla="*/ 205564 h 361971"/>
                <a:gd name="connsiteX64" fmla="*/ 168695 w 361674"/>
                <a:gd name="connsiteY64" fmla="*/ 199180 h 361971"/>
                <a:gd name="connsiteX65" fmla="*/ 175084 w 361674"/>
                <a:gd name="connsiteY65" fmla="*/ 192796 h 361971"/>
                <a:gd name="connsiteX66" fmla="*/ 187864 w 361674"/>
                <a:gd name="connsiteY66" fmla="*/ 192796 h 361971"/>
                <a:gd name="connsiteX67" fmla="*/ 221092 w 361674"/>
                <a:gd name="connsiteY67" fmla="*/ 170452 h 361971"/>
                <a:gd name="connsiteX68" fmla="*/ 254320 w 361674"/>
                <a:gd name="connsiteY68" fmla="*/ 192796 h 361971"/>
                <a:gd name="connsiteX69" fmla="*/ 289464 w 361674"/>
                <a:gd name="connsiteY69" fmla="*/ 192796 h 361971"/>
                <a:gd name="connsiteX70" fmla="*/ 289464 w 361674"/>
                <a:gd name="connsiteY70" fmla="*/ 121296 h 361971"/>
                <a:gd name="connsiteX71" fmla="*/ 281157 w 361674"/>
                <a:gd name="connsiteY71" fmla="*/ 112996 h 361971"/>
                <a:gd name="connsiteX72" fmla="*/ 161666 w 361674"/>
                <a:gd name="connsiteY72" fmla="*/ 112996 h 361971"/>
                <a:gd name="connsiteX73" fmla="*/ 153358 w 361674"/>
                <a:gd name="connsiteY73" fmla="*/ 121296 h 361971"/>
                <a:gd name="connsiteX74" fmla="*/ 153358 w 361674"/>
                <a:gd name="connsiteY74" fmla="*/ 158961 h 361971"/>
                <a:gd name="connsiteX75" fmla="*/ 146969 w 361674"/>
                <a:gd name="connsiteY75" fmla="*/ 165345 h 361971"/>
                <a:gd name="connsiteX76" fmla="*/ 140579 w 361674"/>
                <a:gd name="connsiteY76" fmla="*/ 158961 h 361971"/>
                <a:gd name="connsiteX77" fmla="*/ 140579 w 361674"/>
                <a:gd name="connsiteY77" fmla="*/ 121296 h 361971"/>
                <a:gd name="connsiteX78" fmla="*/ 161666 w 361674"/>
                <a:gd name="connsiteY78" fmla="*/ 100228 h 361971"/>
                <a:gd name="connsiteX79" fmla="*/ 281157 w 361674"/>
                <a:gd name="connsiteY79" fmla="*/ 100228 h 361971"/>
                <a:gd name="connsiteX80" fmla="*/ 302244 w 361674"/>
                <a:gd name="connsiteY80" fmla="*/ 121296 h 361971"/>
                <a:gd name="connsiteX81" fmla="*/ 302244 w 361674"/>
                <a:gd name="connsiteY81" fmla="*/ 204926 h 361971"/>
                <a:gd name="connsiteX82" fmla="*/ 196810 w 361674"/>
                <a:gd name="connsiteY82" fmla="*/ 144278 h 361971"/>
                <a:gd name="connsiteX83" fmla="*/ 221092 w 361674"/>
                <a:gd name="connsiteY83" fmla="*/ 120019 h 361971"/>
                <a:gd name="connsiteX84" fmla="*/ 245374 w 361674"/>
                <a:gd name="connsiteY84" fmla="*/ 144278 h 361971"/>
                <a:gd name="connsiteX85" fmla="*/ 221092 w 361674"/>
                <a:gd name="connsiteY85" fmla="*/ 168537 h 361971"/>
                <a:gd name="connsiteX86" fmla="*/ 196810 w 361674"/>
                <a:gd name="connsiteY86" fmla="*/ 144278 h 361971"/>
                <a:gd name="connsiteX87" fmla="*/ 196810 w 361674"/>
                <a:gd name="connsiteY87" fmla="*/ 14427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61674" h="361971">
                  <a:moveTo>
                    <a:pt x="180836" y="0"/>
                  </a:moveTo>
                  <a:cubicBezTo>
                    <a:pt x="80513" y="0"/>
                    <a:pt x="0" y="81076"/>
                    <a:pt x="0" y="180667"/>
                  </a:cubicBezTo>
                  <a:cubicBezTo>
                    <a:pt x="0" y="280895"/>
                    <a:pt x="81152" y="361971"/>
                    <a:pt x="180836" y="361971"/>
                  </a:cubicBezTo>
                  <a:cubicBezTo>
                    <a:pt x="281157" y="361971"/>
                    <a:pt x="361670" y="280895"/>
                    <a:pt x="361670" y="181305"/>
                  </a:cubicBezTo>
                  <a:lnTo>
                    <a:pt x="361670" y="181305"/>
                  </a:lnTo>
                  <a:cubicBezTo>
                    <a:pt x="362309" y="81076"/>
                    <a:pt x="281157" y="0"/>
                    <a:pt x="180836" y="0"/>
                  </a:cubicBezTo>
                  <a:close/>
                  <a:moveTo>
                    <a:pt x="99683" y="97036"/>
                  </a:moveTo>
                  <a:cubicBezTo>
                    <a:pt x="118214" y="97036"/>
                    <a:pt x="133550" y="112358"/>
                    <a:pt x="133550" y="130872"/>
                  </a:cubicBezTo>
                  <a:cubicBezTo>
                    <a:pt x="133550" y="149385"/>
                    <a:pt x="118214" y="164707"/>
                    <a:pt x="99683" y="164707"/>
                  </a:cubicBezTo>
                  <a:cubicBezTo>
                    <a:pt x="81152" y="164707"/>
                    <a:pt x="65817" y="149385"/>
                    <a:pt x="65817" y="130872"/>
                  </a:cubicBezTo>
                  <a:lnTo>
                    <a:pt x="65817" y="130872"/>
                  </a:lnTo>
                  <a:cubicBezTo>
                    <a:pt x="65817" y="112358"/>
                    <a:pt x="81152" y="97036"/>
                    <a:pt x="99683" y="97036"/>
                  </a:cubicBezTo>
                  <a:close/>
                  <a:moveTo>
                    <a:pt x="203200" y="263658"/>
                  </a:moveTo>
                  <a:cubicBezTo>
                    <a:pt x="203200" y="263658"/>
                    <a:pt x="203200" y="264297"/>
                    <a:pt x="203200" y="264297"/>
                  </a:cubicBezTo>
                  <a:cubicBezTo>
                    <a:pt x="201283" y="271958"/>
                    <a:pt x="194254" y="277703"/>
                    <a:pt x="185947" y="277703"/>
                  </a:cubicBezTo>
                  <a:cubicBezTo>
                    <a:pt x="185308" y="277703"/>
                    <a:pt x="184669" y="277703"/>
                    <a:pt x="184031" y="277703"/>
                  </a:cubicBezTo>
                  <a:lnTo>
                    <a:pt x="138661" y="271319"/>
                  </a:lnTo>
                  <a:lnTo>
                    <a:pt x="138022" y="271319"/>
                  </a:lnTo>
                  <a:lnTo>
                    <a:pt x="138022" y="293025"/>
                  </a:lnTo>
                  <a:cubicBezTo>
                    <a:pt x="138022" y="296855"/>
                    <a:pt x="135466" y="299409"/>
                    <a:pt x="131633" y="299409"/>
                  </a:cubicBezTo>
                  <a:cubicBezTo>
                    <a:pt x="127799" y="299409"/>
                    <a:pt x="125243" y="296855"/>
                    <a:pt x="125243" y="293025"/>
                  </a:cubicBezTo>
                  <a:lnTo>
                    <a:pt x="125243" y="265574"/>
                  </a:lnTo>
                  <a:cubicBezTo>
                    <a:pt x="120770" y="261743"/>
                    <a:pt x="118853" y="255998"/>
                    <a:pt x="118214" y="250252"/>
                  </a:cubicBezTo>
                  <a:lnTo>
                    <a:pt x="116936" y="211310"/>
                  </a:lnTo>
                  <a:cubicBezTo>
                    <a:pt x="116936" y="207479"/>
                    <a:pt x="119492" y="204926"/>
                    <a:pt x="123326" y="204926"/>
                  </a:cubicBezTo>
                  <a:cubicBezTo>
                    <a:pt x="127160" y="204926"/>
                    <a:pt x="129716" y="207479"/>
                    <a:pt x="129716" y="211310"/>
                  </a:cubicBezTo>
                  <a:lnTo>
                    <a:pt x="130994" y="250252"/>
                  </a:lnTo>
                  <a:cubicBezTo>
                    <a:pt x="130994" y="255359"/>
                    <a:pt x="134828" y="259828"/>
                    <a:pt x="139940" y="260466"/>
                  </a:cubicBezTo>
                  <a:lnTo>
                    <a:pt x="185308" y="266850"/>
                  </a:lnTo>
                  <a:cubicBezTo>
                    <a:pt x="187864" y="266850"/>
                    <a:pt x="189781" y="265574"/>
                    <a:pt x="190420" y="263658"/>
                  </a:cubicBezTo>
                  <a:cubicBezTo>
                    <a:pt x="191059" y="260466"/>
                    <a:pt x="189142" y="257913"/>
                    <a:pt x="185947" y="257274"/>
                  </a:cubicBezTo>
                  <a:cubicBezTo>
                    <a:pt x="185947" y="257274"/>
                    <a:pt x="185947" y="257274"/>
                    <a:pt x="185947" y="257274"/>
                  </a:cubicBezTo>
                  <a:lnTo>
                    <a:pt x="152720" y="252806"/>
                  </a:lnTo>
                  <a:cubicBezTo>
                    <a:pt x="149525" y="252167"/>
                    <a:pt x="147607" y="249614"/>
                    <a:pt x="146969" y="246422"/>
                  </a:cubicBezTo>
                  <a:lnTo>
                    <a:pt x="145691" y="213225"/>
                  </a:lnTo>
                  <a:cubicBezTo>
                    <a:pt x="145051" y="195988"/>
                    <a:pt x="129716" y="186412"/>
                    <a:pt x="114380" y="184497"/>
                  </a:cubicBezTo>
                  <a:cubicBezTo>
                    <a:pt x="100961" y="181944"/>
                    <a:pt x="87542" y="181944"/>
                    <a:pt x="74123" y="184497"/>
                  </a:cubicBezTo>
                  <a:cubicBezTo>
                    <a:pt x="72207" y="185135"/>
                    <a:pt x="70289" y="185774"/>
                    <a:pt x="68372" y="186412"/>
                  </a:cubicBezTo>
                  <a:cubicBezTo>
                    <a:pt x="65177" y="187689"/>
                    <a:pt x="61343" y="185774"/>
                    <a:pt x="60066" y="182582"/>
                  </a:cubicBezTo>
                  <a:cubicBezTo>
                    <a:pt x="60066" y="182582"/>
                    <a:pt x="60066" y="182582"/>
                    <a:pt x="60066" y="182582"/>
                  </a:cubicBezTo>
                  <a:cubicBezTo>
                    <a:pt x="58787" y="179390"/>
                    <a:pt x="60704" y="175560"/>
                    <a:pt x="63899" y="174283"/>
                  </a:cubicBezTo>
                  <a:cubicBezTo>
                    <a:pt x="63899" y="174283"/>
                    <a:pt x="63899" y="174283"/>
                    <a:pt x="63899" y="174283"/>
                  </a:cubicBezTo>
                  <a:cubicBezTo>
                    <a:pt x="66456" y="173644"/>
                    <a:pt x="69012" y="172368"/>
                    <a:pt x="71567" y="171729"/>
                  </a:cubicBezTo>
                  <a:cubicBezTo>
                    <a:pt x="86264" y="169176"/>
                    <a:pt x="101600" y="169176"/>
                    <a:pt x="116297" y="171729"/>
                  </a:cubicBezTo>
                  <a:cubicBezTo>
                    <a:pt x="136745" y="174921"/>
                    <a:pt x="157192" y="188327"/>
                    <a:pt x="158471" y="213225"/>
                  </a:cubicBezTo>
                  <a:lnTo>
                    <a:pt x="159748" y="241314"/>
                  </a:lnTo>
                  <a:lnTo>
                    <a:pt x="187864" y="245145"/>
                  </a:lnTo>
                  <a:cubicBezTo>
                    <a:pt x="197449" y="245783"/>
                    <a:pt x="203839" y="254721"/>
                    <a:pt x="203200" y="263658"/>
                  </a:cubicBezTo>
                  <a:close/>
                  <a:moveTo>
                    <a:pt x="302244" y="204926"/>
                  </a:moveTo>
                  <a:cubicBezTo>
                    <a:pt x="302244" y="216417"/>
                    <a:pt x="292659" y="225993"/>
                    <a:pt x="281157" y="225993"/>
                  </a:cubicBezTo>
                  <a:lnTo>
                    <a:pt x="239623" y="225993"/>
                  </a:lnTo>
                  <a:lnTo>
                    <a:pt x="239623" y="235569"/>
                  </a:lnTo>
                  <a:lnTo>
                    <a:pt x="295854" y="235569"/>
                  </a:lnTo>
                  <a:cubicBezTo>
                    <a:pt x="299688" y="235569"/>
                    <a:pt x="302244" y="238122"/>
                    <a:pt x="302244" y="241953"/>
                  </a:cubicBezTo>
                  <a:cubicBezTo>
                    <a:pt x="302244" y="245783"/>
                    <a:pt x="299688" y="248337"/>
                    <a:pt x="295854" y="248337"/>
                  </a:cubicBezTo>
                  <a:lnTo>
                    <a:pt x="208951" y="248337"/>
                  </a:lnTo>
                  <a:cubicBezTo>
                    <a:pt x="205117" y="248337"/>
                    <a:pt x="202561" y="245783"/>
                    <a:pt x="202561" y="241953"/>
                  </a:cubicBezTo>
                  <a:lnTo>
                    <a:pt x="202561" y="225993"/>
                  </a:lnTo>
                  <a:lnTo>
                    <a:pt x="175084" y="225993"/>
                  </a:lnTo>
                  <a:cubicBezTo>
                    <a:pt x="171251" y="225993"/>
                    <a:pt x="168695" y="223439"/>
                    <a:pt x="168695" y="219609"/>
                  </a:cubicBezTo>
                  <a:cubicBezTo>
                    <a:pt x="168695" y="215779"/>
                    <a:pt x="171251" y="213225"/>
                    <a:pt x="175084" y="213225"/>
                  </a:cubicBezTo>
                  <a:lnTo>
                    <a:pt x="281157" y="213225"/>
                  </a:lnTo>
                  <a:cubicBezTo>
                    <a:pt x="285630" y="213225"/>
                    <a:pt x="288825" y="210033"/>
                    <a:pt x="289464" y="205564"/>
                  </a:cubicBezTo>
                  <a:lnTo>
                    <a:pt x="175084" y="205564"/>
                  </a:lnTo>
                  <a:cubicBezTo>
                    <a:pt x="171251" y="205564"/>
                    <a:pt x="168695" y="203011"/>
                    <a:pt x="168695" y="199180"/>
                  </a:cubicBezTo>
                  <a:cubicBezTo>
                    <a:pt x="168695" y="195350"/>
                    <a:pt x="171251" y="192796"/>
                    <a:pt x="175084" y="192796"/>
                  </a:cubicBezTo>
                  <a:lnTo>
                    <a:pt x="187864" y="192796"/>
                  </a:lnTo>
                  <a:cubicBezTo>
                    <a:pt x="190420" y="181305"/>
                    <a:pt x="200005" y="170452"/>
                    <a:pt x="221092" y="170452"/>
                  </a:cubicBezTo>
                  <a:cubicBezTo>
                    <a:pt x="242179" y="170452"/>
                    <a:pt x="251764" y="181305"/>
                    <a:pt x="254320" y="192796"/>
                  </a:cubicBezTo>
                  <a:lnTo>
                    <a:pt x="289464" y="192796"/>
                  </a:lnTo>
                  <a:lnTo>
                    <a:pt x="289464" y="121296"/>
                  </a:lnTo>
                  <a:cubicBezTo>
                    <a:pt x="289464" y="116827"/>
                    <a:pt x="285630" y="112996"/>
                    <a:pt x="281157" y="112996"/>
                  </a:cubicBezTo>
                  <a:lnTo>
                    <a:pt x="161666" y="112996"/>
                  </a:lnTo>
                  <a:cubicBezTo>
                    <a:pt x="157192" y="112996"/>
                    <a:pt x="153358" y="116827"/>
                    <a:pt x="153358" y="121296"/>
                  </a:cubicBezTo>
                  <a:lnTo>
                    <a:pt x="153358" y="158961"/>
                  </a:lnTo>
                  <a:cubicBezTo>
                    <a:pt x="153358" y="162792"/>
                    <a:pt x="150802" y="165345"/>
                    <a:pt x="146969" y="165345"/>
                  </a:cubicBezTo>
                  <a:cubicBezTo>
                    <a:pt x="143135" y="165345"/>
                    <a:pt x="140579" y="162792"/>
                    <a:pt x="140579" y="158961"/>
                  </a:cubicBezTo>
                  <a:lnTo>
                    <a:pt x="140579" y="121296"/>
                  </a:lnTo>
                  <a:cubicBezTo>
                    <a:pt x="140579" y="109804"/>
                    <a:pt x="150164" y="100228"/>
                    <a:pt x="161666" y="100228"/>
                  </a:cubicBezTo>
                  <a:lnTo>
                    <a:pt x="281157" y="100228"/>
                  </a:lnTo>
                  <a:cubicBezTo>
                    <a:pt x="292659" y="100228"/>
                    <a:pt x="302244" y="109804"/>
                    <a:pt x="302244" y="121296"/>
                  </a:cubicBezTo>
                  <a:lnTo>
                    <a:pt x="302244" y="204926"/>
                  </a:lnTo>
                  <a:close/>
                  <a:moveTo>
                    <a:pt x="196810" y="144278"/>
                  </a:moveTo>
                  <a:cubicBezTo>
                    <a:pt x="196810" y="130872"/>
                    <a:pt x="207673" y="120019"/>
                    <a:pt x="221092" y="120019"/>
                  </a:cubicBezTo>
                  <a:cubicBezTo>
                    <a:pt x="234510" y="120019"/>
                    <a:pt x="245374" y="130872"/>
                    <a:pt x="245374" y="144278"/>
                  </a:cubicBezTo>
                  <a:cubicBezTo>
                    <a:pt x="245374" y="157684"/>
                    <a:pt x="234510" y="168537"/>
                    <a:pt x="221092" y="168537"/>
                  </a:cubicBezTo>
                  <a:cubicBezTo>
                    <a:pt x="207673" y="168537"/>
                    <a:pt x="196810" y="157684"/>
                    <a:pt x="196810" y="144278"/>
                  </a:cubicBezTo>
                  <a:cubicBezTo>
                    <a:pt x="196810" y="144278"/>
                    <a:pt x="196810" y="144278"/>
                    <a:pt x="196810" y="144278"/>
                  </a:cubicBezTo>
                  <a:close/>
                </a:path>
              </a:pathLst>
            </a:custGeom>
            <a:grpFill/>
            <a:ln w="6390" cap="flat">
              <a:noFill/>
              <a:prstDash val="solid"/>
              <a:miter/>
            </a:ln>
          </p:spPr>
          <p:txBody>
            <a:bodyPr rtlCol="0" anchor="ctr"/>
            <a:lstStyle/>
            <a:p>
              <a:endParaRPr lang="en-US"/>
            </a:p>
          </p:txBody>
        </p:sp>
        <p:sp>
          <p:nvSpPr>
            <p:cNvPr id="258" name="Graphic 4">
              <a:extLst>
                <a:ext uri="{FF2B5EF4-FFF2-40B4-BE49-F238E27FC236}">
                  <a16:creationId xmlns:a16="http://schemas.microsoft.com/office/drawing/2014/main" id="{915DC013-B163-2C4E-56F7-1432518E7A57}"/>
                </a:ext>
              </a:extLst>
            </p:cNvPr>
            <p:cNvSpPr/>
            <p:nvPr/>
          </p:nvSpPr>
          <p:spPr>
            <a:xfrm>
              <a:off x="8449414" y="3956954"/>
              <a:ext cx="23003" cy="22982"/>
            </a:xfrm>
            <a:custGeom>
              <a:avLst/>
              <a:gdLst>
                <a:gd name="connsiteX0" fmla="*/ 23004 w 23003"/>
                <a:gd name="connsiteY0" fmla="*/ 11491 h 22982"/>
                <a:gd name="connsiteX1" fmla="*/ 11501 w 23003"/>
                <a:gd name="connsiteY1" fmla="*/ 0 h 22982"/>
                <a:gd name="connsiteX2" fmla="*/ 0 w 23003"/>
                <a:gd name="connsiteY2" fmla="*/ 11491 h 22982"/>
                <a:gd name="connsiteX3" fmla="*/ 11501 w 23003"/>
                <a:gd name="connsiteY3" fmla="*/ 22982 h 22982"/>
                <a:gd name="connsiteX4" fmla="*/ 11501 w 23003"/>
                <a:gd name="connsiteY4" fmla="*/ 22982 h 22982"/>
                <a:gd name="connsiteX5" fmla="*/ 23004 w 23003"/>
                <a:gd name="connsiteY5" fmla="*/ 11491 h 22982"/>
                <a:gd name="connsiteX6" fmla="*/ 23004 w 23003"/>
                <a:gd name="connsiteY6" fmla="*/ 11491 h 2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03" h="22982">
                  <a:moveTo>
                    <a:pt x="23004" y="11491"/>
                  </a:moveTo>
                  <a:cubicBezTo>
                    <a:pt x="23004" y="5107"/>
                    <a:pt x="17891" y="0"/>
                    <a:pt x="11501" y="0"/>
                  </a:cubicBezTo>
                  <a:cubicBezTo>
                    <a:pt x="5111" y="0"/>
                    <a:pt x="0" y="5107"/>
                    <a:pt x="0" y="11491"/>
                  </a:cubicBezTo>
                  <a:cubicBezTo>
                    <a:pt x="0" y="17875"/>
                    <a:pt x="5111" y="22982"/>
                    <a:pt x="11501" y="22982"/>
                  </a:cubicBezTo>
                  <a:cubicBezTo>
                    <a:pt x="11501" y="22982"/>
                    <a:pt x="11501" y="22982"/>
                    <a:pt x="11501" y="22982"/>
                  </a:cubicBezTo>
                  <a:cubicBezTo>
                    <a:pt x="17891" y="22982"/>
                    <a:pt x="23004" y="17875"/>
                    <a:pt x="23004" y="11491"/>
                  </a:cubicBezTo>
                  <a:cubicBezTo>
                    <a:pt x="23004" y="11491"/>
                    <a:pt x="23004" y="11491"/>
                    <a:pt x="23004" y="11491"/>
                  </a:cubicBezTo>
                  <a:close/>
                </a:path>
              </a:pathLst>
            </a:custGeom>
            <a:grpFill/>
            <a:ln w="6390" cap="flat">
              <a:noFill/>
              <a:prstDash val="solid"/>
              <a:miter/>
            </a:ln>
          </p:spPr>
          <p:txBody>
            <a:bodyPr rtlCol="0" anchor="ctr"/>
            <a:lstStyle/>
            <a:p>
              <a:endParaRPr lang="en-US"/>
            </a:p>
          </p:txBody>
        </p:sp>
      </p:grpSp>
      <p:grpSp>
        <p:nvGrpSpPr>
          <p:cNvPr id="259" name="Graphic 4">
            <a:extLst>
              <a:ext uri="{FF2B5EF4-FFF2-40B4-BE49-F238E27FC236}">
                <a16:creationId xmlns:a16="http://schemas.microsoft.com/office/drawing/2014/main" id="{5D99342E-A4E3-F683-1124-2CBD0351A69C}"/>
              </a:ext>
            </a:extLst>
          </p:cNvPr>
          <p:cNvGrpSpPr>
            <a:grpSpLocks/>
          </p:cNvGrpSpPr>
          <p:nvPr/>
        </p:nvGrpSpPr>
        <p:grpSpPr>
          <a:xfrm>
            <a:off x="474281" y="2712199"/>
            <a:ext cx="539991" cy="539995"/>
            <a:chOff x="4045469" y="918179"/>
            <a:chExt cx="362309" cy="361971"/>
          </a:xfrm>
          <a:solidFill>
            <a:schemeClr val="accent2"/>
          </a:solidFill>
        </p:grpSpPr>
        <p:sp>
          <p:nvSpPr>
            <p:cNvPr id="261" name="Graphic 4">
              <a:extLst>
                <a:ext uri="{FF2B5EF4-FFF2-40B4-BE49-F238E27FC236}">
                  <a16:creationId xmlns:a16="http://schemas.microsoft.com/office/drawing/2014/main" id="{F9F99966-8499-F406-BD38-42A64491760E}"/>
                </a:ext>
              </a:extLst>
            </p:cNvPr>
            <p:cNvSpPr/>
            <p:nvPr/>
          </p:nvSpPr>
          <p:spPr>
            <a:xfrm>
              <a:off x="4159210" y="1061180"/>
              <a:ext cx="12779" cy="12767"/>
            </a:xfrm>
            <a:custGeom>
              <a:avLst/>
              <a:gdLst>
                <a:gd name="connsiteX0" fmla="*/ 6390 w 12779"/>
                <a:gd name="connsiteY0" fmla="*/ 0 h 12767"/>
                <a:gd name="connsiteX1" fmla="*/ 0 w 12779"/>
                <a:gd name="connsiteY1" fmla="*/ 6384 h 12767"/>
                <a:gd name="connsiteX2" fmla="*/ 6390 w 12779"/>
                <a:gd name="connsiteY2" fmla="*/ 12768 h 12767"/>
                <a:gd name="connsiteX3" fmla="*/ 12780 w 12779"/>
                <a:gd name="connsiteY3" fmla="*/ 6384 h 12767"/>
                <a:gd name="connsiteX4" fmla="*/ 6390 w 12779"/>
                <a:gd name="connsiteY4" fmla="*/ 0 h 12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 h="12767">
                  <a:moveTo>
                    <a:pt x="6390" y="0"/>
                  </a:moveTo>
                  <a:cubicBezTo>
                    <a:pt x="2556" y="0"/>
                    <a:pt x="0" y="2554"/>
                    <a:pt x="0" y="6384"/>
                  </a:cubicBezTo>
                  <a:cubicBezTo>
                    <a:pt x="0" y="10214"/>
                    <a:pt x="2556" y="12768"/>
                    <a:pt x="6390" y="12768"/>
                  </a:cubicBezTo>
                  <a:cubicBezTo>
                    <a:pt x="10224" y="12768"/>
                    <a:pt x="12780" y="10214"/>
                    <a:pt x="12780" y="6384"/>
                  </a:cubicBezTo>
                  <a:cubicBezTo>
                    <a:pt x="12780" y="2554"/>
                    <a:pt x="10224" y="0"/>
                    <a:pt x="6390" y="0"/>
                  </a:cubicBezTo>
                  <a:close/>
                </a:path>
              </a:pathLst>
            </a:custGeom>
            <a:grpFill/>
            <a:ln w="6390" cap="flat">
              <a:noFill/>
              <a:prstDash val="solid"/>
              <a:miter/>
            </a:ln>
          </p:spPr>
          <p:txBody>
            <a:bodyPr rtlCol="0" anchor="ctr"/>
            <a:lstStyle/>
            <a:p>
              <a:endParaRPr lang="en-US"/>
            </a:p>
          </p:txBody>
        </p:sp>
        <p:sp>
          <p:nvSpPr>
            <p:cNvPr id="262" name="Graphic 4">
              <a:extLst>
                <a:ext uri="{FF2B5EF4-FFF2-40B4-BE49-F238E27FC236}">
                  <a16:creationId xmlns:a16="http://schemas.microsoft.com/office/drawing/2014/main" id="{1ED24A0A-4CDD-F800-C9D0-B1FE61DB82D7}"/>
                </a:ext>
              </a:extLst>
            </p:cNvPr>
            <p:cNvSpPr/>
            <p:nvPr/>
          </p:nvSpPr>
          <p:spPr>
            <a:xfrm>
              <a:off x="4217358" y="1006278"/>
              <a:ext cx="23003" cy="22982"/>
            </a:xfrm>
            <a:custGeom>
              <a:avLst/>
              <a:gdLst>
                <a:gd name="connsiteX0" fmla="*/ 11502 w 23003"/>
                <a:gd name="connsiteY0" fmla="*/ 0 h 22982"/>
                <a:gd name="connsiteX1" fmla="*/ 0 w 23003"/>
                <a:gd name="connsiteY1" fmla="*/ 11491 h 22982"/>
                <a:gd name="connsiteX2" fmla="*/ 11502 w 23003"/>
                <a:gd name="connsiteY2" fmla="*/ 22982 h 22982"/>
                <a:gd name="connsiteX3" fmla="*/ 23004 w 23003"/>
                <a:gd name="connsiteY3" fmla="*/ 11491 h 22982"/>
                <a:gd name="connsiteX4" fmla="*/ 11502 w 23003"/>
                <a:gd name="connsiteY4" fmla="*/ 0 h 22982"/>
                <a:gd name="connsiteX5" fmla="*/ 11502 w 23003"/>
                <a:gd name="connsiteY5" fmla="*/ 0 h 2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3" h="22982">
                  <a:moveTo>
                    <a:pt x="11502" y="0"/>
                  </a:moveTo>
                  <a:cubicBezTo>
                    <a:pt x="5112" y="0"/>
                    <a:pt x="0" y="5107"/>
                    <a:pt x="0" y="11491"/>
                  </a:cubicBezTo>
                  <a:cubicBezTo>
                    <a:pt x="0" y="17875"/>
                    <a:pt x="5112" y="22982"/>
                    <a:pt x="11502" y="22982"/>
                  </a:cubicBezTo>
                  <a:cubicBezTo>
                    <a:pt x="17892" y="22982"/>
                    <a:pt x="23004" y="17875"/>
                    <a:pt x="23004" y="11491"/>
                  </a:cubicBezTo>
                  <a:cubicBezTo>
                    <a:pt x="23004" y="5107"/>
                    <a:pt x="17892" y="0"/>
                    <a:pt x="11502" y="0"/>
                  </a:cubicBezTo>
                  <a:lnTo>
                    <a:pt x="11502" y="0"/>
                  </a:lnTo>
                  <a:close/>
                </a:path>
              </a:pathLst>
            </a:custGeom>
            <a:grpFill/>
            <a:ln w="6390" cap="flat">
              <a:noFill/>
              <a:prstDash val="solid"/>
              <a:miter/>
            </a:ln>
          </p:spPr>
          <p:txBody>
            <a:bodyPr rtlCol="0" anchor="ctr"/>
            <a:lstStyle/>
            <a:p>
              <a:endParaRPr lang="en-US"/>
            </a:p>
          </p:txBody>
        </p:sp>
        <p:sp>
          <p:nvSpPr>
            <p:cNvPr id="263" name="Graphic 4">
              <a:extLst>
                <a:ext uri="{FF2B5EF4-FFF2-40B4-BE49-F238E27FC236}">
                  <a16:creationId xmlns:a16="http://schemas.microsoft.com/office/drawing/2014/main" id="{1BF41743-9AF3-CE38-BDE9-A98337428A65}"/>
                </a:ext>
              </a:extLst>
            </p:cNvPr>
            <p:cNvSpPr/>
            <p:nvPr/>
          </p:nvSpPr>
          <p:spPr>
            <a:xfrm>
              <a:off x="4209690" y="1143533"/>
              <a:ext cx="37735" cy="37665"/>
            </a:xfrm>
            <a:custGeom>
              <a:avLst/>
              <a:gdLst>
                <a:gd name="connsiteX0" fmla="*/ 19170 w 37735"/>
                <a:gd name="connsiteY0" fmla="*/ 0 h 37665"/>
                <a:gd name="connsiteX1" fmla="*/ 0 w 37735"/>
                <a:gd name="connsiteY1" fmla="*/ 18514 h 37665"/>
                <a:gd name="connsiteX2" fmla="*/ 18531 w 37735"/>
                <a:gd name="connsiteY2" fmla="*/ 37665 h 37665"/>
                <a:gd name="connsiteX3" fmla="*/ 37701 w 37735"/>
                <a:gd name="connsiteY3" fmla="*/ 19152 h 37665"/>
                <a:gd name="connsiteX4" fmla="*/ 37701 w 37735"/>
                <a:gd name="connsiteY4" fmla="*/ 19152 h 37665"/>
                <a:gd name="connsiteX5" fmla="*/ 19170 w 37735"/>
                <a:gd name="connsiteY5" fmla="*/ 0 h 3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35" h="37665">
                  <a:moveTo>
                    <a:pt x="19170" y="0"/>
                  </a:moveTo>
                  <a:cubicBezTo>
                    <a:pt x="8307" y="0"/>
                    <a:pt x="0" y="8299"/>
                    <a:pt x="0" y="18514"/>
                  </a:cubicBezTo>
                  <a:cubicBezTo>
                    <a:pt x="0" y="29366"/>
                    <a:pt x="8307" y="37665"/>
                    <a:pt x="18531" y="37665"/>
                  </a:cubicBezTo>
                  <a:cubicBezTo>
                    <a:pt x="29394" y="37665"/>
                    <a:pt x="37701" y="29366"/>
                    <a:pt x="37701" y="19152"/>
                  </a:cubicBezTo>
                  <a:cubicBezTo>
                    <a:pt x="37701" y="19152"/>
                    <a:pt x="37701" y="19152"/>
                    <a:pt x="37701" y="19152"/>
                  </a:cubicBezTo>
                  <a:cubicBezTo>
                    <a:pt x="38340" y="8938"/>
                    <a:pt x="30033" y="638"/>
                    <a:pt x="19170" y="0"/>
                  </a:cubicBezTo>
                  <a:close/>
                </a:path>
              </a:pathLst>
            </a:custGeom>
            <a:grpFill/>
            <a:ln w="6390" cap="flat">
              <a:noFill/>
              <a:prstDash val="solid"/>
              <a:miter/>
            </a:ln>
          </p:spPr>
          <p:txBody>
            <a:bodyPr rtlCol="0" anchor="ctr"/>
            <a:lstStyle/>
            <a:p>
              <a:endParaRPr lang="en-US"/>
            </a:p>
          </p:txBody>
        </p:sp>
        <p:sp>
          <p:nvSpPr>
            <p:cNvPr id="264" name="Graphic 4">
              <a:extLst>
                <a:ext uri="{FF2B5EF4-FFF2-40B4-BE49-F238E27FC236}">
                  <a16:creationId xmlns:a16="http://schemas.microsoft.com/office/drawing/2014/main" id="{9202FCE0-B854-F723-0438-AA1D7C1CFACD}"/>
                </a:ext>
              </a:extLst>
            </p:cNvPr>
            <p:cNvSpPr/>
            <p:nvPr/>
          </p:nvSpPr>
          <p:spPr>
            <a:xfrm>
              <a:off x="4288925" y="1052242"/>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30672 w 30671"/>
                <a:gd name="connsiteY4" fmla="*/ 15322 h 30643"/>
                <a:gd name="connsiteX5" fmla="*/ 15336 w 30671"/>
                <a:gd name="connsiteY5" fmla="*/ 0 h 3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15322"/>
                    <a:pt x="30672" y="15322"/>
                    <a:pt x="30672" y="15322"/>
                  </a:cubicBezTo>
                  <a:cubicBezTo>
                    <a:pt x="30672" y="6384"/>
                    <a:pt x="23643" y="0"/>
                    <a:pt x="15336" y="0"/>
                  </a:cubicBezTo>
                  <a:close/>
                </a:path>
              </a:pathLst>
            </a:custGeom>
            <a:grpFill/>
            <a:ln w="6390" cap="flat">
              <a:noFill/>
              <a:prstDash val="solid"/>
              <a:miter/>
            </a:ln>
          </p:spPr>
          <p:txBody>
            <a:bodyPr rtlCol="0" anchor="ctr"/>
            <a:lstStyle/>
            <a:p>
              <a:endParaRPr lang="en-US"/>
            </a:p>
          </p:txBody>
        </p:sp>
        <p:sp>
          <p:nvSpPr>
            <p:cNvPr id="265" name="Graphic 4">
              <a:extLst>
                <a:ext uri="{FF2B5EF4-FFF2-40B4-BE49-F238E27FC236}">
                  <a16:creationId xmlns:a16="http://schemas.microsoft.com/office/drawing/2014/main" id="{8C01E4B6-5A5F-4A3B-3338-4CF67B8A68B6}"/>
                </a:ext>
              </a:extLst>
            </p:cNvPr>
            <p:cNvSpPr/>
            <p:nvPr/>
          </p:nvSpPr>
          <p:spPr>
            <a:xfrm>
              <a:off x="4045469" y="918179"/>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58792 w 362309"/>
                <a:gd name="connsiteY6" fmla="*/ 176836 h 361971"/>
                <a:gd name="connsiteX7" fmla="*/ 251764 w 362309"/>
                <a:gd name="connsiteY7" fmla="*/ 175560 h 361971"/>
                <a:gd name="connsiteX8" fmla="*/ 210868 w 362309"/>
                <a:gd name="connsiteY8" fmla="*/ 227908 h 361971"/>
                <a:gd name="connsiteX9" fmla="*/ 215341 w 362309"/>
                <a:gd name="connsiteY9" fmla="*/ 243868 h 361971"/>
                <a:gd name="connsiteX10" fmla="*/ 195532 w 362309"/>
                <a:gd name="connsiteY10" fmla="*/ 273234 h 361971"/>
                <a:gd name="connsiteX11" fmla="*/ 228760 w 362309"/>
                <a:gd name="connsiteY11" fmla="*/ 273234 h 361971"/>
                <a:gd name="connsiteX12" fmla="*/ 235150 w 362309"/>
                <a:gd name="connsiteY12" fmla="*/ 279618 h 361971"/>
                <a:gd name="connsiteX13" fmla="*/ 228760 w 362309"/>
                <a:gd name="connsiteY13" fmla="*/ 286002 h 361971"/>
                <a:gd name="connsiteX14" fmla="*/ 138662 w 362309"/>
                <a:gd name="connsiteY14" fmla="*/ 286002 h 361971"/>
                <a:gd name="connsiteX15" fmla="*/ 132272 w 362309"/>
                <a:gd name="connsiteY15" fmla="*/ 279618 h 361971"/>
                <a:gd name="connsiteX16" fmla="*/ 138662 w 362309"/>
                <a:gd name="connsiteY16" fmla="*/ 273234 h 361971"/>
                <a:gd name="connsiteX17" fmla="*/ 171889 w 362309"/>
                <a:gd name="connsiteY17" fmla="*/ 273234 h 361971"/>
                <a:gd name="connsiteX18" fmla="*/ 154637 w 362309"/>
                <a:gd name="connsiteY18" fmla="*/ 232377 h 361971"/>
                <a:gd name="connsiteX19" fmla="*/ 184031 w 362309"/>
                <a:gd name="connsiteY19" fmla="*/ 212587 h 361971"/>
                <a:gd name="connsiteX20" fmla="*/ 202561 w 362309"/>
                <a:gd name="connsiteY20" fmla="*/ 218971 h 361971"/>
                <a:gd name="connsiteX21" fmla="*/ 240901 w 362309"/>
                <a:gd name="connsiteY21" fmla="*/ 169814 h 361971"/>
                <a:gd name="connsiteX22" fmla="*/ 237706 w 362309"/>
                <a:gd name="connsiteY22" fmla="*/ 131510 h 361971"/>
                <a:gd name="connsiteX23" fmla="*/ 204478 w 362309"/>
                <a:gd name="connsiteY23" fmla="*/ 112358 h 361971"/>
                <a:gd name="connsiteX24" fmla="*/ 171251 w 362309"/>
                <a:gd name="connsiteY24" fmla="*/ 120657 h 361971"/>
                <a:gd name="connsiteX25" fmla="*/ 167416 w 362309"/>
                <a:gd name="connsiteY25" fmla="*/ 118104 h 361971"/>
                <a:gd name="connsiteX26" fmla="*/ 138023 w 362309"/>
                <a:gd name="connsiteY26" fmla="*/ 143001 h 361971"/>
                <a:gd name="connsiteX27" fmla="*/ 139301 w 362309"/>
                <a:gd name="connsiteY27" fmla="*/ 149385 h 361971"/>
                <a:gd name="connsiteX28" fmla="*/ 120131 w 362309"/>
                <a:gd name="connsiteY28" fmla="*/ 168537 h 361971"/>
                <a:gd name="connsiteX29" fmla="*/ 115658 w 362309"/>
                <a:gd name="connsiteY29" fmla="*/ 167899 h 361971"/>
                <a:gd name="connsiteX30" fmla="*/ 122687 w 362309"/>
                <a:gd name="connsiteY30" fmla="*/ 171729 h 361971"/>
                <a:gd name="connsiteX31" fmla="*/ 125882 w 362309"/>
                <a:gd name="connsiteY31" fmla="*/ 175560 h 361971"/>
                <a:gd name="connsiteX32" fmla="*/ 125243 w 362309"/>
                <a:gd name="connsiteY32" fmla="*/ 180667 h 361971"/>
                <a:gd name="connsiteX33" fmla="*/ 114380 w 362309"/>
                <a:gd name="connsiteY33" fmla="*/ 199180 h 361971"/>
                <a:gd name="connsiteX34" fmla="*/ 108629 w 362309"/>
                <a:gd name="connsiteY34" fmla="*/ 202372 h 361971"/>
                <a:gd name="connsiteX35" fmla="*/ 105434 w 362309"/>
                <a:gd name="connsiteY35" fmla="*/ 201734 h 361971"/>
                <a:gd name="connsiteX36" fmla="*/ 102878 w 362309"/>
                <a:gd name="connsiteY36" fmla="*/ 192796 h 361971"/>
                <a:gd name="connsiteX37" fmla="*/ 110546 w 362309"/>
                <a:gd name="connsiteY37" fmla="*/ 180028 h 361971"/>
                <a:gd name="connsiteX38" fmla="*/ 95210 w 362309"/>
                <a:gd name="connsiteY38" fmla="*/ 169814 h 361971"/>
                <a:gd name="connsiteX39" fmla="*/ 87542 w 362309"/>
                <a:gd name="connsiteY39" fmla="*/ 182582 h 361971"/>
                <a:gd name="connsiteX40" fmla="*/ 78597 w 362309"/>
                <a:gd name="connsiteY40" fmla="*/ 185135 h 361971"/>
                <a:gd name="connsiteX41" fmla="*/ 76040 w 362309"/>
                <a:gd name="connsiteY41" fmla="*/ 176198 h 361971"/>
                <a:gd name="connsiteX42" fmla="*/ 86264 w 362309"/>
                <a:gd name="connsiteY42" fmla="*/ 157684 h 361971"/>
                <a:gd name="connsiteX43" fmla="*/ 95210 w 362309"/>
                <a:gd name="connsiteY43" fmla="*/ 155131 h 361971"/>
                <a:gd name="connsiteX44" fmla="*/ 95210 w 362309"/>
                <a:gd name="connsiteY44" fmla="*/ 155131 h 361971"/>
                <a:gd name="connsiteX45" fmla="*/ 106073 w 362309"/>
                <a:gd name="connsiteY45" fmla="*/ 160876 h 361971"/>
                <a:gd name="connsiteX46" fmla="*/ 106712 w 362309"/>
                <a:gd name="connsiteY46" fmla="*/ 134064 h 361971"/>
                <a:gd name="connsiteX47" fmla="*/ 119492 w 362309"/>
                <a:gd name="connsiteY47" fmla="*/ 128956 h 361971"/>
                <a:gd name="connsiteX48" fmla="*/ 129077 w 362309"/>
                <a:gd name="connsiteY48" fmla="*/ 131510 h 361971"/>
                <a:gd name="connsiteX49" fmla="*/ 159748 w 362309"/>
                <a:gd name="connsiteY49" fmla="*/ 105336 h 361971"/>
                <a:gd name="connsiteX50" fmla="*/ 158471 w 362309"/>
                <a:gd name="connsiteY50" fmla="*/ 98313 h 361971"/>
                <a:gd name="connsiteX51" fmla="*/ 182752 w 362309"/>
                <a:gd name="connsiteY51" fmla="*/ 74054 h 361971"/>
                <a:gd name="connsiteX52" fmla="*/ 207034 w 362309"/>
                <a:gd name="connsiteY52" fmla="*/ 98313 h 361971"/>
                <a:gd name="connsiteX53" fmla="*/ 247930 w 362309"/>
                <a:gd name="connsiteY53" fmla="*/ 122572 h 361971"/>
                <a:gd name="connsiteX54" fmla="*/ 284352 w 362309"/>
                <a:gd name="connsiteY54" fmla="*/ 137894 h 361971"/>
                <a:gd name="connsiteX55" fmla="*/ 286270 w 362309"/>
                <a:gd name="connsiteY55" fmla="*/ 148108 h 361971"/>
                <a:gd name="connsiteX56" fmla="*/ 258792 w 362309"/>
                <a:gd name="connsiteY56" fmla="*/ 17683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lnTo>
                    <a:pt x="362310" y="181305"/>
                  </a:lnTo>
                  <a:cubicBezTo>
                    <a:pt x="362310" y="81077"/>
                    <a:pt x="281796" y="0"/>
                    <a:pt x="181474" y="0"/>
                  </a:cubicBezTo>
                  <a:close/>
                  <a:moveTo>
                    <a:pt x="258792" y="176836"/>
                  </a:moveTo>
                  <a:cubicBezTo>
                    <a:pt x="256237" y="176836"/>
                    <a:pt x="254320" y="176198"/>
                    <a:pt x="251764" y="175560"/>
                  </a:cubicBezTo>
                  <a:lnTo>
                    <a:pt x="210868" y="227908"/>
                  </a:lnTo>
                  <a:cubicBezTo>
                    <a:pt x="214063" y="233015"/>
                    <a:pt x="215341" y="238123"/>
                    <a:pt x="215341" y="243868"/>
                  </a:cubicBezTo>
                  <a:cubicBezTo>
                    <a:pt x="215341" y="256636"/>
                    <a:pt x="207673" y="268127"/>
                    <a:pt x="195532" y="273234"/>
                  </a:cubicBezTo>
                  <a:lnTo>
                    <a:pt x="228760" y="273234"/>
                  </a:lnTo>
                  <a:cubicBezTo>
                    <a:pt x="232594" y="273234"/>
                    <a:pt x="235150" y="275788"/>
                    <a:pt x="235150" y="279618"/>
                  </a:cubicBezTo>
                  <a:cubicBezTo>
                    <a:pt x="235150" y="283449"/>
                    <a:pt x="232594" y="286002"/>
                    <a:pt x="228760" y="286002"/>
                  </a:cubicBezTo>
                  <a:lnTo>
                    <a:pt x="138662" y="286002"/>
                  </a:lnTo>
                  <a:cubicBezTo>
                    <a:pt x="134828" y="286002"/>
                    <a:pt x="132272" y="283449"/>
                    <a:pt x="132272" y="279618"/>
                  </a:cubicBezTo>
                  <a:cubicBezTo>
                    <a:pt x="132272" y="275788"/>
                    <a:pt x="134828" y="273234"/>
                    <a:pt x="138662" y="273234"/>
                  </a:cubicBezTo>
                  <a:lnTo>
                    <a:pt x="171889" y="273234"/>
                  </a:lnTo>
                  <a:cubicBezTo>
                    <a:pt x="155915" y="266850"/>
                    <a:pt x="147608" y="248337"/>
                    <a:pt x="154637" y="232377"/>
                  </a:cubicBezTo>
                  <a:cubicBezTo>
                    <a:pt x="159748" y="220247"/>
                    <a:pt x="171251" y="212587"/>
                    <a:pt x="184031" y="212587"/>
                  </a:cubicBezTo>
                  <a:cubicBezTo>
                    <a:pt x="190420" y="212587"/>
                    <a:pt x="197449" y="215140"/>
                    <a:pt x="202561" y="218971"/>
                  </a:cubicBezTo>
                  <a:lnTo>
                    <a:pt x="240901" y="169814"/>
                  </a:lnTo>
                  <a:cubicBezTo>
                    <a:pt x="229399" y="160238"/>
                    <a:pt x="228121" y="143001"/>
                    <a:pt x="237706" y="131510"/>
                  </a:cubicBezTo>
                  <a:lnTo>
                    <a:pt x="204478" y="112358"/>
                  </a:lnTo>
                  <a:cubicBezTo>
                    <a:pt x="197449" y="123849"/>
                    <a:pt x="182752" y="127680"/>
                    <a:pt x="171251" y="120657"/>
                  </a:cubicBezTo>
                  <a:cubicBezTo>
                    <a:pt x="169973" y="120019"/>
                    <a:pt x="168695" y="118742"/>
                    <a:pt x="167416" y="118104"/>
                  </a:cubicBezTo>
                  <a:lnTo>
                    <a:pt x="138023" y="143001"/>
                  </a:lnTo>
                  <a:cubicBezTo>
                    <a:pt x="138662" y="144916"/>
                    <a:pt x="139301" y="147470"/>
                    <a:pt x="139301" y="149385"/>
                  </a:cubicBezTo>
                  <a:cubicBezTo>
                    <a:pt x="139301" y="160238"/>
                    <a:pt x="130994" y="168537"/>
                    <a:pt x="120131" y="168537"/>
                  </a:cubicBezTo>
                  <a:cubicBezTo>
                    <a:pt x="118853" y="168537"/>
                    <a:pt x="116936" y="168537"/>
                    <a:pt x="115658" y="167899"/>
                  </a:cubicBezTo>
                  <a:lnTo>
                    <a:pt x="122687" y="171729"/>
                  </a:lnTo>
                  <a:cubicBezTo>
                    <a:pt x="123965" y="172368"/>
                    <a:pt x="125243" y="173644"/>
                    <a:pt x="125882" y="175560"/>
                  </a:cubicBezTo>
                  <a:cubicBezTo>
                    <a:pt x="126521" y="177475"/>
                    <a:pt x="125882" y="178752"/>
                    <a:pt x="125243" y="180667"/>
                  </a:cubicBezTo>
                  <a:lnTo>
                    <a:pt x="114380" y="199180"/>
                  </a:lnTo>
                  <a:cubicBezTo>
                    <a:pt x="113102" y="201095"/>
                    <a:pt x="111185" y="202372"/>
                    <a:pt x="108629" y="202372"/>
                  </a:cubicBezTo>
                  <a:cubicBezTo>
                    <a:pt x="107351" y="202372"/>
                    <a:pt x="106712" y="202372"/>
                    <a:pt x="105434" y="201734"/>
                  </a:cubicBezTo>
                  <a:cubicBezTo>
                    <a:pt x="102239" y="199819"/>
                    <a:pt x="101600" y="195988"/>
                    <a:pt x="102878" y="192796"/>
                  </a:cubicBezTo>
                  <a:lnTo>
                    <a:pt x="110546" y="180028"/>
                  </a:lnTo>
                  <a:lnTo>
                    <a:pt x="95210" y="169814"/>
                  </a:lnTo>
                  <a:lnTo>
                    <a:pt x="87542" y="182582"/>
                  </a:lnTo>
                  <a:cubicBezTo>
                    <a:pt x="85625" y="185774"/>
                    <a:pt x="81792" y="186412"/>
                    <a:pt x="78597" y="185135"/>
                  </a:cubicBezTo>
                  <a:cubicBezTo>
                    <a:pt x="75402" y="183220"/>
                    <a:pt x="74762" y="179390"/>
                    <a:pt x="76040" y="176198"/>
                  </a:cubicBezTo>
                  <a:lnTo>
                    <a:pt x="86264" y="157684"/>
                  </a:lnTo>
                  <a:cubicBezTo>
                    <a:pt x="88181" y="154492"/>
                    <a:pt x="92015" y="153216"/>
                    <a:pt x="95210" y="155131"/>
                  </a:cubicBezTo>
                  <a:cubicBezTo>
                    <a:pt x="95210" y="155131"/>
                    <a:pt x="95210" y="155131"/>
                    <a:pt x="95210" y="155131"/>
                  </a:cubicBezTo>
                  <a:lnTo>
                    <a:pt x="106073" y="160876"/>
                  </a:lnTo>
                  <a:cubicBezTo>
                    <a:pt x="99044" y="153216"/>
                    <a:pt x="99044" y="141086"/>
                    <a:pt x="106712" y="134064"/>
                  </a:cubicBezTo>
                  <a:cubicBezTo>
                    <a:pt x="109907" y="130872"/>
                    <a:pt x="115019" y="128956"/>
                    <a:pt x="119492" y="128956"/>
                  </a:cubicBezTo>
                  <a:cubicBezTo>
                    <a:pt x="122687" y="128956"/>
                    <a:pt x="126521" y="129595"/>
                    <a:pt x="129077" y="131510"/>
                  </a:cubicBezTo>
                  <a:lnTo>
                    <a:pt x="159748" y="105336"/>
                  </a:lnTo>
                  <a:cubicBezTo>
                    <a:pt x="159110" y="102782"/>
                    <a:pt x="158471" y="100867"/>
                    <a:pt x="158471" y="98313"/>
                  </a:cubicBezTo>
                  <a:cubicBezTo>
                    <a:pt x="158471" y="84907"/>
                    <a:pt x="169333" y="74054"/>
                    <a:pt x="182752" y="74054"/>
                  </a:cubicBezTo>
                  <a:cubicBezTo>
                    <a:pt x="196171" y="74054"/>
                    <a:pt x="207034" y="84907"/>
                    <a:pt x="207034" y="98313"/>
                  </a:cubicBezTo>
                  <a:lnTo>
                    <a:pt x="247930" y="122572"/>
                  </a:lnTo>
                  <a:cubicBezTo>
                    <a:pt x="261987" y="116827"/>
                    <a:pt x="278602" y="123849"/>
                    <a:pt x="284352" y="137894"/>
                  </a:cubicBezTo>
                  <a:cubicBezTo>
                    <a:pt x="285630" y="141086"/>
                    <a:pt x="286270" y="144916"/>
                    <a:pt x="286270" y="148108"/>
                  </a:cubicBezTo>
                  <a:cubicBezTo>
                    <a:pt x="286908" y="164707"/>
                    <a:pt x="274128" y="176836"/>
                    <a:pt x="258792" y="176836"/>
                  </a:cubicBezTo>
                  <a:close/>
                </a:path>
              </a:pathLst>
            </a:custGeom>
            <a:grpFill/>
            <a:ln w="6390" cap="flat">
              <a:noFill/>
              <a:prstDash val="solid"/>
              <a:miter/>
            </a:ln>
          </p:spPr>
          <p:txBody>
            <a:bodyPr rtlCol="0" anchor="ctr"/>
            <a:lstStyle/>
            <a:p>
              <a:endParaRPr lang="en-US"/>
            </a:p>
          </p:txBody>
        </p:sp>
      </p:grpSp>
      <p:sp>
        <p:nvSpPr>
          <p:cNvPr id="271" name="TextBox 270">
            <a:extLst>
              <a:ext uri="{FF2B5EF4-FFF2-40B4-BE49-F238E27FC236}">
                <a16:creationId xmlns:a16="http://schemas.microsoft.com/office/drawing/2014/main" id="{2C3AE7B9-8C71-FE40-56A4-873192D57A0B}"/>
              </a:ext>
            </a:extLst>
          </p:cNvPr>
          <p:cNvSpPr txBox="1"/>
          <p:nvPr/>
        </p:nvSpPr>
        <p:spPr>
          <a:xfrm>
            <a:off x="0" y="5656841"/>
            <a:ext cx="12192000" cy="301108"/>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OT-Security </a:t>
            </a:r>
            <a:r>
              <a:rPr kumimoji="0" lang="en-US" sz="1200" i="0" u="none" strike="noStrike" kern="1200" cap="none" spc="0" normalizeH="0" baseline="0" noProof="0" err="1">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priorisiert</a:t>
            </a:r>
            <a:r>
              <a:rPr kumimoji="0" lang="en-US" sz="1200" i="0" u="none" strike="noStrike" kern="1200" cap="none" spc="0" normalizeH="0" baseline="0" noProof="0">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b="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S</a:t>
            </a:r>
            <a:r>
              <a:rPr kumimoji="0" lang="en-US" sz="1200" b="1" i="0" u="none" strike="noStrike" kern="1200" cap="none" spc="0" normalizeH="0" baseline="0" noProof="0" err="1">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afety</a:t>
            </a:r>
            <a:r>
              <a:rPr kumimoji="0" lang="en-US" sz="1200" b="1" i="0" u="none" strike="noStrike" kern="1200" cap="none" spc="0" normalizeH="0" baseline="0" noProof="0">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 und </a:t>
            </a:r>
            <a:r>
              <a:rPr kumimoji="0" lang="en-US" sz="1200" b="1" i="0" u="none" strike="noStrike" kern="1200" cap="none" spc="0" normalizeH="0" baseline="0" noProof="0" err="1">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rPr>
              <a:t>Zuverlässigkeit</a:t>
            </a:r>
            <a:r>
              <a:rPr lang="en-US" sz="1200" b="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und </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benötigt</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daher</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einen</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vom</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IT-</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Fokus</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uf </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Datensicherheit</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verschiedenen</a:t>
            </a:r>
            <a:r>
              <a:rPr lang="en-US" sz="1200">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t>
            </a:r>
            <a:r>
              <a:rPr lang="en-US" sz="1200" b="1" err="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Risiko-basierten</a:t>
            </a:r>
            <a:r>
              <a:rPr lang="en-US" sz="1200" b="1">
                <a:solidFill>
                  <a:schemeClr val="bg1"/>
                </a:solidFill>
                <a:latin typeface="Aptos" panose="020B0004020202020204" pitchFamily="34" charset="0"/>
                <a:ea typeface="Open Sans Light" panose="020B0306030504020204" pitchFamily="34" charset="0"/>
                <a:cs typeface="Open Sans Light" panose="020B0306030504020204" pitchFamily="34" charset="0"/>
                <a:sym typeface="Open Sans Light"/>
              </a:rPr>
              <a:t> Ansatz.</a:t>
            </a:r>
            <a:endParaRPr kumimoji="0" lang="en-US" sz="1200" i="0" u="none" strike="noStrike" kern="1200" cap="none" spc="0" normalizeH="0" baseline="0" noProof="0">
              <a:ln>
                <a:noFill/>
              </a:ln>
              <a:solidFill>
                <a:schemeClr val="bg1"/>
              </a:solidFill>
              <a:effectLst/>
              <a:uLnTx/>
              <a:uFillTx/>
              <a:latin typeface="Aptos" panose="020B0004020202020204" pitchFamily="34" charset="0"/>
              <a:ea typeface="Open Sans Light" panose="020B0306030504020204" pitchFamily="34" charset="0"/>
              <a:cs typeface="Open Sans Light" panose="020B0306030504020204" pitchFamily="34" charset="0"/>
              <a:sym typeface="Open Sans Light"/>
            </a:endParaRPr>
          </a:p>
        </p:txBody>
      </p:sp>
    </p:spTree>
    <p:extLst>
      <p:ext uri="{BB962C8B-B14F-4D97-AF65-F5344CB8AC3E}">
        <p14:creationId xmlns:p14="http://schemas.microsoft.com/office/powerpoint/2010/main" val="8983363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2324" name="think-cell data - do not delete" hidden="1">
            <a:extLst>
              <a:ext uri="{FF2B5EF4-FFF2-40B4-BE49-F238E27FC236}">
                <a16:creationId xmlns:a16="http://schemas.microsoft.com/office/drawing/2014/main" id="{B6146BD9-A8F0-5EED-7DAD-7E711BA6A575}"/>
              </a:ext>
            </a:extLst>
          </p:cNvPr>
          <p:cNvGraphicFramePr>
            <a:graphicFrameLocks noChangeAspect="1"/>
          </p:cNvGraphicFramePr>
          <p:nvPr>
            <p:custDataLst>
              <p:tags r:id="rId1"/>
            </p:custDataLst>
            <p:extLst>
              <p:ext uri="{D42A27DB-BD31-4B8C-83A1-F6EECF244321}">
                <p14:modId xmlns:p14="http://schemas.microsoft.com/office/powerpoint/2010/main" val="85036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2324" name="think-cell data - do not delete" hidden="1">
                        <a:extLst>
                          <a:ext uri="{FF2B5EF4-FFF2-40B4-BE49-F238E27FC236}">
                            <a16:creationId xmlns:a16="http://schemas.microsoft.com/office/drawing/2014/main" id="{B6146BD9-A8F0-5EED-7DAD-7E711BA6A57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a:solidFill>
                  <a:srgbClr val="53565A"/>
                </a:solidFill>
                <a:cs typeface="Calibri" panose="020F0502020204030204" pitchFamily="34" charset="0"/>
              </a:rPr>
              <a:t>Globale Vielfalt: Unterschiedliche Welten, gemeinsame Ziele</a:t>
            </a:r>
            <a:endParaRPr lang="en-GB">
              <a:solidFill>
                <a:srgbClr val="53565A"/>
              </a:solidFill>
              <a:cs typeface="Calibri" panose="020F0502020204030204" pitchFamily="34" charset="0"/>
            </a:endParaRP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dirty="0"/>
              <a:t>Kulturelle Herausforderungen in Enterprise Unternehmen</a:t>
            </a:r>
            <a:endParaRPr lang="en-GB" dirty="0"/>
          </a:p>
        </p:txBody>
      </p:sp>
      <p:grpSp>
        <p:nvGrpSpPr>
          <p:cNvPr id="53" name="Group 52">
            <a:extLst>
              <a:ext uri="{FF2B5EF4-FFF2-40B4-BE49-F238E27FC236}">
                <a16:creationId xmlns:a16="http://schemas.microsoft.com/office/drawing/2014/main" id="{10B0F103-54FE-4646-C29B-D9CA650068B1}"/>
              </a:ext>
            </a:extLst>
          </p:cNvPr>
          <p:cNvGrpSpPr>
            <a:grpSpLocks/>
          </p:cNvGrpSpPr>
          <p:nvPr/>
        </p:nvGrpSpPr>
        <p:grpSpPr>
          <a:xfrm>
            <a:off x="6992377" y="1841296"/>
            <a:ext cx="4753550" cy="3536157"/>
            <a:chOff x="6765902" y="1838248"/>
            <a:chExt cx="4753550" cy="3536157"/>
          </a:xfrm>
        </p:grpSpPr>
        <p:grpSp>
          <p:nvGrpSpPr>
            <p:cNvPr id="54" name="Graphic 4">
              <a:extLst>
                <a:ext uri="{FF2B5EF4-FFF2-40B4-BE49-F238E27FC236}">
                  <a16:creationId xmlns:a16="http://schemas.microsoft.com/office/drawing/2014/main" id="{A0B7FB33-CC81-32AF-8173-0EF3F4513648}"/>
                </a:ext>
              </a:extLst>
            </p:cNvPr>
            <p:cNvGrpSpPr>
              <a:grpSpLocks/>
            </p:cNvGrpSpPr>
            <p:nvPr/>
          </p:nvGrpSpPr>
          <p:grpSpPr>
            <a:xfrm>
              <a:off x="6765902" y="3425341"/>
              <a:ext cx="362309" cy="361971"/>
              <a:chOff x="4045469" y="2371173"/>
              <a:chExt cx="362309" cy="361971"/>
            </a:xfrm>
            <a:solidFill>
              <a:schemeClr val="accent1"/>
            </a:solidFill>
          </p:grpSpPr>
          <p:sp>
            <p:nvSpPr>
              <p:cNvPr id="2241" name="Graphic 4">
                <a:extLst>
                  <a:ext uri="{FF2B5EF4-FFF2-40B4-BE49-F238E27FC236}">
                    <a16:creationId xmlns:a16="http://schemas.microsoft.com/office/drawing/2014/main" id="{D769F512-6947-A318-2079-BF4F553C1965}"/>
                  </a:ext>
                </a:extLst>
              </p:cNvPr>
              <p:cNvSpPr/>
              <p:nvPr/>
            </p:nvSpPr>
            <p:spPr>
              <a:xfrm>
                <a:off x="4146430" y="2493107"/>
                <a:ext cx="161026" cy="128956"/>
              </a:xfrm>
              <a:custGeom>
                <a:avLst/>
                <a:gdLst>
                  <a:gd name="connsiteX0" fmla="*/ 0 w 161026"/>
                  <a:gd name="connsiteY0" fmla="*/ 128957 h 128956"/>
                  <a:gd name="connsiteX1" fmla="*/ 161026 w 161026"/>
                  <a:gd name="connsiteY1" fmla="*/ 128318 h 128956"/>
                  <a:gd name="connsiteX2" fmla="*/ 80513 w 161026"/>
                  <a:gd name="connsiteY2" fmla="*/ 0 h 128956"/>
                  <a:gd name="connsiteX3" fmla="*/ 0 w 161026"/>
                  <a:gd name="connsiteY3" fmla="*/ 128957 h 128956"/>
                  <a:gd name="connsiteX4" fmla="*/ 86903 w 161026"/>
                  <a:gd name="connsiteY4" fmla="*/ 112997 h 128956"/>
                  <a:gd name="connsiteX5" fmla="*/ 80513 w 161026"/>
                  <a:gd name="connsiteY5" fmla="*/ 119381 h 128956"/>
                  <a:gd name="connsiteX6" fmla="*/ 74123 w 161026"/>
                  <a:gd name="connsiteY6" fmla="*/ 112997 h 128956"/>
                  <a:gd name="connsiteX7" fmla="*/ 74123 w 161026"/>
                  <a:gd name="connsiteY7" fmla="*/ 105974 h 128956"/>
                  <a:gd name="connsiteX8" fmla="*/ 80513 w 161026"/>
                  <a:gd name="connsiteY8" fmla="*/ 99590 h 128956"/>
                  <a:gd name="connsiteX9" fmla="*/ 86903 w 161026"/>
                  <a:gd name="connsiteY9" fmla="*/ 105974 h 128956"/>
                  <a:gd name="connsiteX10" fmla="*/ 86903 w 161026"/>
                  <a:gd name="connsiteY10" fmla="*/ 112997 h 128956"/>
                  <a:gd name="connsiteX11" fmla="*/ 86903 w 161026"/>
                  <a:gd name="connsiteY11" fmla="*/ 37027 h 128956"/>
                  <a:gd name="connsiteX12" fmla="*/ 86903 w 161026"/>
                  <a:gd name="connsiteY12" fmla="*/ 87461 h 128956"/>
                  <a:gd name="connsiteX13" fmla="*/ 80513 w 161026"/>
                  <a:gd name="connsiteY13" fmla="*/ 93845 h 128956"/>
                  <a:gd name="connsiteX14" fmla="*/ 74123 w 161026"/>
                  <a:gd name="connsiteY14" fmla="*/ 87461 h 128956"/>
                  <a:gd name="connsiteX15" fmla="*/ 74123 w 161026"/>
                  <a:gd name="connsiteY15" fmla="*/ 37027 h 128956"/>
                  <a:gd name="connsiteX16" fmla="*/ 80513 w 161026"/>
                  <a:gd name="connsiteY16" fmla="*/ 30643 h 128956"/>
                  <a:gd name="connsiteX17" fmla="*/ 86903 w 161026"/>
                  <a:gd name="connsiteY17" fmla="*/ 37027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026" h="128956">
                    <a:moveTo>
                      <a:pt x="0" y="128957"/>
                    </a:moveTo>
                    <a:lnTo>
                      <a:pt x="161026" y="128318"/>
                    </a:lnTo>
                    <a:lnTo>
                      <a:pt x="80513" y="0"/>
                    </a:lnTo>
                    <a:lnTo>
                      <a:pt x="0" y="128957"/>
                    </a:lnTo>
                    <a:close/>
                    <a:moveTo>
                      <a:pt x="86903" y="112997"/>
                    </a:moveTo>
                    <a:cubicBezTo>
                      <a:pt x="86903" y="116827"/>
                      <a:pt x="84347" y="119381"/>
                      <a:pt x="80513" y="119381"/>
                    </a:cubicBezTo>
                    <a:cubicBezTo>
                      <a:pt x="76679" y="119381"/>
                      <a:pt x="74123" y="116827"/>
                      <a:pt x="74123" y="112997"/>
                    </a:cubicBezTo>
                    <a:lnTo>
                      <a:pt x="74123" y="105974"/>
                    </a:lnTo>
                    <a:cubicBezTo>
                      <a:pt x="74123" y="102144"/>
                      <a:pt x="76679" y="99590"/>
                      <a:pt x="80513" y="99590"/>
                    </a:cubicBezTo>
                    <a:cubicBezTo>
                      <a:pt x="84347" y="99590"/>
                      <a:pt x="86903" y="102144"/>
                      <a:pt x="86903" y="105974"/>
                    </a:cubicBezTo>
                    <a:lnTo>
                      <a:pt x="86903" y="112997"/>
                    </a:lnTo>
                    <a:close/>
                    <a:moveTo>
                      <a:pt x="86903" y="37027"/>
                    </a:moveTo>
                    <a:lnTo>
                      <a:pt x="86903" y="87461"/>
                    </a:lnTo>
                    <a:cubicBezTo>
                      <a:pt x="86903" y="91291"/>
                      <a:pt x="84347" y="93845"/>
                      <a:pt x="80513" y="93845"/>
                    </a:cubicBezTo>
                    <a:cubicBezTo>
                      <a:pt x="76679" y="93845"/>
                      <a:pt x="74123" y="91291"/>
                      <a:pt x="74123" y="87461"/>
                    </a:cubicBezTo>
                    <a:lnTo>
                      <a:pt x="74123" y="37027"/>
                    </a:lnTo>
                    <a:cubicBezTo>
                      <a:pt x="74123" y="33197"/>
                      <a:pt x="76679" y="30643"/>
                      <a:pt x="80513" y="30643"/>
                    </a:cubicBezTo>
                    <a:cubicBezTo>
                      <a:pt x="84347" y="30643"/>
                      <a:pt x="86903" y="33835"/>
                      <a:pt x="86903" y="37027"/>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2242" name="Graphic 4">
                <a:extLst>
                  <a:ext uri="{FF2B5EF4-FFF2-40B4-BE49-F238E27FC236}">
                    <a16:creationId xmlns:a16="http://schemas.microsoft.com/office/drawing/2014/main" id="{28E1089B-DAD1-A96E-85FE-3806EF272B6D}"/>
                  </a:ext>
                </a:extLst>
              </p:cNvPr>
              <p:cNvSpPr/>
              <p:nvPr/>
            </p:nvSpPr>
            <p:spPr>
              <a:xfrm>
                <a:off x="4045469" y="237117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61349 w 362309"/>
                  <a:gd name="connsiteY6" fmla="*/ 128957 h 361971"/>
                  <a:gd name="connsiteX7" fmla="*/ 261349 w 362309"/>
                  <a:gd name="connsiteY7" fmla="*/ 120019 h 361971"/>
                  <a:gd name="connsiteX8" fmla="*/ 261349 w 362309"/>
                  <a:gd name="connsiteY8" fmla="*/ 120019 h 361971"/>
                  <a:gd name="connsiteX9" fmla="*/ 270295 w 362309"/>
                  <a:gd name="connsiteY9" fmla="*/ 120019 h 361971"/>
                  <a:gd name="connsiteX10" fmla="*/ 270295 w 362309"/>
                  <a:gd name="connsiteY10" fmla="*/ 192158 h 361971"/>
                  <a:gd name="connsiteX11" fmla="*/ 270295 w 362309"/>
                  <a:gd name="connsiteY11" fmla="*/ 192158 h 361971"/>
                  <a:gd name="connsiteX12" fmla="*/ 261349 w 362309"/>
                  <a:gd name="connsiteY12" fmla="*/ 192158 h 361971"/>
                  <a:gd name="connsiteX13" fmla="*/ 261349 w 362309"/>
                  <a:gd name="connsiteY13" fmla="*/ 183220 h 361971"/>
                  <a:gd name="connsiteX14" fmla="*/ 261349 w 362309"/>
                  <a:gd name="connsiteY14" fmla="*/ 128957 h 361971"/>
                  <a:gd name="connsiteX15" fmla="*/ 261349 w 362309"/>
                  <a:gd name="connsiteY15" fmla="*/ 128957 h 361971"/>
                  <a:gd name="connsiteX16" fmla="*/ 261349 w 362309"/>
                  <a:gd name="connsiteY16" fmla="*/ 128957 h 361971"/>
                  <a:gd name="connsiteX17" fmla="*/ 242179 w 362309"/>
                  <a:gd name="connsiteY17" fmla="*/ 149385 h 361971"/>
                  <a:gd name="connsiteX18" fmla="*/ 241540 w 362309"/>
                  <a:gd name="connsiteY18" fmla="*/ 140448 h 361971"/>
                  <a:gd name="connsiteX19" fmla="*/ 250486 w 362309"/>
                  <a:gd name="connsiteY19" fmla="*/ 139809 h 361971"/>
                  <a:gd name="connsiteX20" fmla="*/ 250486 w 362309"/>
                  <a:gd name="connsiteY20" fmla="*/ 139809 h 361971"/>
                  <a:gd name="connsiteX21" fmla="*/ 252403 w 362309"/>
                  <a:gd name="connsiteY21" fmla="*/ 171091 h 361971"/>
                  <a:gd name="connsiteX22" fmla="*/ 250486 w 362309"/>
                  <a:gd name="connsiteY22" fmla="*/ 173006 h 361971"/>
                  <a:gd name="connsiteX23" fmla="*/ 246013 w 362309"/>
                  <a:gd name="connsiteY23" fmla="*/ 174921 h 361971"/>
                  <a:gd name="connsiteX24" fmla="*/ 239623 w 362309"/>
                  <a:gd name="connsiteY24" fmla="*/ 168537 h 361971"/>
                  <a:gd name="connsiteX25" fmla="*/ 241540 w 362309"/>
                  <a:gd name="connsiteY25" fmla="*/ 164068 h 361971"/>
                  <a:gd name="connsiteX26" fmla="*/ 244735 w 362309"/>
                  <a:gd name="connsiteY26" fmla="*/ 157046 h 361971"/>
                  <a:gd name="connsiteX27" fmla="*/ 242179 w 362309"/>
                  <a:gd name="connsiteY27" fmla="*/ 149385 h 361971"/>
                  <a:gd name="connsiteX28" fmla="*/ 111824 w 362309"/>
                  <a:gd name="connsiteY28" fmla="*/ 139809 h 361971"/>
                  <a:gd name="connsiteX29" fmla="*/ 120770 w 362309"/>
                  <a:gd name="connsiteY29" fmla="*/ 140448 h 361971"/>
                  <a:gd name="connsiteX30" fmla="*/ 120770 w 362309"/>
                  <a:gd name="connsiteY30" fmla="*/ 140448 h 361971"/>
                  <a:gd name="connsiteX31" fmla="*/ 120131 w 362309"/>
                  <a:gd name="connsiteY31" fmla="*/ 149385 h 361971"/>
                  <a:gd name="connsiteX32" fmla="*/ 116936 w 362309"/>
                  <a:gd name="connsiteY32" fmla="*/ 156408 h 361971"/>
                  <a:gd name="connsiteX33" fmla="*/ 120131 w 362309"/>
                  <a:gd name="connsiteY33" fmla="*/ 163430 h 361971"/>
                  <a:gd name="connsiteX34" fmla="*/ 120770 w 362309"/>
                  <a:gd name="connsiteY34" fmla="*/ 172368 h 361971"/>
                  <a:gd name="connsiteX35" fmla="*/ 111824 w 362309"/>
                  <a:gd name="connsiteY35" fmla="*/ 173006 h 361971"/>
                  <a:gd name="connsiteX36" fmla="*/ 109907 w 362309"/>
                  <a:gd name="connsiteY36" fmla="*/ 141724 h 361971"/>
                  <a:gd name="connsiteX37" fmla="*/ 111824 w 362309"/>
                  <a:gd name="connsiteY37" fmla="*/ 139809 h 361971"/>
                  <a:gd name="connsiteX38" fmla="*/ 111824 w 362309"/>
                  <a:gd name="connsiteY38" fmla="*/ 139809 h 361971"/>
                  <a:gd name="connsiteX39" fmla="*/ 101600 w 362309"/>
                  <a:gd name="connsiteY39" fmla="*/ 120019 h 361971"/>
                  <a:gd name="connsiteX40" fmla="*/ 101600 w 362309"/>
                  <a:gd name="connsiteY40" fmla="*/ 128957 h 361971"/>
                  <a:gd name="connsiteX41" fmla="*/ 101600 w 362309"/>
                  <a:gd name="connsiteY41" fmla="*/ 128957 h 361971"/>
                  <a:gd name="connsiteX42" fmla="*/ 101600 w 362309"/>
                  <a:gd name="connsiteY42" fmla="*/ 183220 h 361971"/>
                  <a:gd name="connsiteX43" fmla="*/ 101600 w 362309"/>
                  <a:gd name="connsiteY43" fmla="*/ 183220 h 361971"/>
                  <a:gd name="connsiteX44" fmla="*/ 101600 w 362309"/>
                  <a:gd name="connsiteY44" fmla="*/ 192158 h 361971"/>
                  <a:gd name="connsiteX45" fmla="*/ 92654 w 362309"/>
                  <a:gd name="connsiteY45" fmla="*/ 192158 h 361971"/>
                  <a:gd name="connsiteX46" fmla="*/ 92654 w 362309"/>
                  <a:gd name="connsiteY46" fmla="*/ 192158 h 361971"/>
                  <a:gd name="connsiteX47" fmla="*/ 92654 w 362309"/>
                  <a:gd name="connsiteY47" fmla="*/ 120019 h 361971"/>
                  <a:gd name="connsiteX48" fmla="*/ 92654 w 362309"/>
                  <a:gd name="connsiteY48" fmla="*/ 120019 h 361971"/>
                  <a:gd name="connsiteX49" fmla="*/ 101600 w 362309"/>
                  <a:gd name="connsiteY49" fmla="*/ 120019 h 361971"/>
                  <a:gd name="connsiteX50" fmla="*/ 82430 w 362309"/>
                  <a:gd name="connsiteY50" fmla="*/ 212587 h 361971"/>
                  <a:gd name="connsiteX51" fmla="*/ 73484 w 362309"/>
                  <a:gd name="connsiteY51" fmla="*/ 212587 h 361971"/>
                  <a:gd name="connsiteX52" fmla="*/ 73484 w 362309"/>
                  <a:gd name="connsiteY52" fmla="*/ 212587 h 361971"/>
                  <a:gd name="connsiteX53" fmla="*/ 73484 w 362309"/>
                  <a:gd name="connsiteY53" fmla="*/ 100229 h 361971"/>
                  <a:gd name="connsiteX54" fmla="*/ 82430 w 362309"/>
                  <a:gd name="connsiteY54" fmla="*/ 100229 h 361971"/>
                  <a:gd name="connsiteX55" fmla="*/ 82430 w 362309"/>
                  <a:gd name="connsiteY55" fmla="*/ 100229 h 361971"/>
                  <a:gd name="connsiteX56" fmla="*/ 82430 w 362309"/>
                  <a:gd name="connsiteY56" fmla="*/ 109166 h 361971"/>
                  <a:gd name="connsiteX57" fmla="*/ 82430 w 362309"/>
                  <a:gd name="connsiteY57" fmla="*/ 203649 h 361971"/>
                  <a:gd name="connsiteX58" fmla="*/ 82430 w 362309"/>
                  <a:gd name="connsiteY58" fmla="*/ 212587 h 361971"/>
                  <a:gd name="connsiteX59" fmla="*/ 82430 w 362309"/>
                  <a:gd name="connsiteY59" fmla="*/ 212587 h 361971"/>
                  <a:gd name="connsiteX60" fmla="*/ 274128 w 362309"/>
                  <a:gd name="connsiteY60" fmla="*/ 256636 h 361971"/>
                  <a:gd name="connsiteX61" fmla="*/ 263266 w 362309"/>
                  <a:gd name="connsiteY61" fmla="*/ 263020 h 361971"/>
                  <a:gd name="connsiteX62" fmla="*/ 100961 w 362309"/>
                  <a:gd name="connsiteY62" fmla="*/ 263020 h 361971"/>
                  <a:gd name="connsiteX63" fmla="*/ 88820 w 362309"/>
                  <a:gd name="connsiteY63" fmla="*/ 250252 h 361971"/>
                  <a:gd name="connsiteX64" fmla="*/ 90737 w 362309"/>
                  <a:gd name="connsiteY64" fmla="*/ 243868 h 361971"/>
                  <a:gd name="connsiteX65" fmla="*/ 171251 w 362309"/>
                  <a:gd name="connsiteY65" fmla="*/ 114912 h 361971"/>
                  <a:gd name="connsiteX66" fmla="*/ 189142 w 362309"/>
                  <a:gd name="connsiteY66" fmla="*/ 111720 h 361971"/>
                  <a:gd name="connsiteX67" fmla="*/ 192337 w 362309"/>
                  <a:gd name="connsiteY67" fmla="*/ 114912 h 361971"/>
                  <a:gd name="connsiteX68" fmla="*/ 273490 w 362309"/>
                  <a:gd name="connsiteY68" fmla="*/ 243868 h 361971"/>
                  <a:gd name="connsiteX69" fmla="*/ 274128 w 362309"/>
                  <a:gd name="connsiteY69" fmla="*/ 256636 h 361971"/>
                  <a:gd name="connsiteX70" fmla="*/ 274128 w 362309"/>
                  <a:gd name="connsiteY70" fmla="*/ 256636 h 361971"/>
                  <a:gd name="connsiteX71" fmla="*/ 290742 w 362309"/>
                  <a:gd name="connsiteY71" fmla="*/ 212587 h 361971"/>
                  <a:gd name="connsiteX72" fmla="*/ 286270 w 362309"/>
                  <a:gd name="connsiteY72" fmla="*/ 214502 h 361971"/>
                  <a:gd name="connsiteX73" fmla="*/ 279880 w 362309"/>
                  <a:gd name="connsiteY73" fmla="*/ 208118 h 361971"/>
                  <a:gd name="connsiteX74" fmla="*/ 281796 w 362309"/>
                  <a:gd name="connsiteY74" fmla="*/ 203649 h 361971"/>
                  <a:gd name="connsiteX75" fmla="*/ 281796 w 362309"/>
                  <a:gd name="connsiteY75" fmla="*/ 109166 h 361971"/>
                  <a:gd name="connsiteX76" fmla="*/ 281796 w 362309"/>
                  <a:gd name="connsiteY76" fmla="*/ 100229 h 361971"/>
                  <a:gd name="connsiteX77" fmla="*/ 290742 w 362309"/>
                  <a:gd name="connsiteY77" fmla="*/ 100229 h 361971"/>
                  <a:gd name="connsiteX78" fmla="*/ 290103 w 362309"/>
                  <a:gd name="connsiteY78" fmla="*/ 212587 h 361971"/>
                  <a:gd name="connsiteX79" fmla="*/ 290742 w 362309"/>
                  <a:gd name="connsiteY79" fmla="*/ 2125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lose/>
                    <a:moveTo>
                      <a:pt x="261349" y="128957"/>
                    </a:moveTo>
                    <a:cubicBezTo>
                      <a:pt x="258792" y="126403"/>
                      <a:pt x="258792" y="122573"/>
                      <a:pt x="261349" y="120019"/>
                    </a:cubicBezTo>
                    <a:cubicBezTo>
                      <a:pt x="261349" y="120019"/>
                      <a:pt x="261349" y="120019"/>
                      <a:pt x="261349" y="120019"/>
                    </a:cubicBezTo>
                    <a:cubicBezTo>
                      <a:pt x="263905" y="117465"/>
                      <a:pt x="267739" y="117465"/>
                      <a:pt x="270295" y="120019"/>
                    </a:cubicBezTo>
                    <a:cubicBezTo>
                      <a:pt x="290103" y="139809"/>
                      <a:pt x="290742" y="172368"/>
                      <a:pt x="270295" y="192158"/>
                    </a:cubicBezTo>
                    <a:cubicBezTo>
                      <a:pt x="270295" y="192158"/>
                      <a:pt x="270295" y="192158"/>
                      <a:pt x="270295" y="192158"/>
                    </a:cubicBezTo>
                    <a:cubicBezTo>
                      <a:pt x="267739" y="194711"/>
                      <a:pt x="263905" y="194711"/>
                      <a:pt x="261349" y="192158"/>
                    </a:cubicBezTo>
                    <a:cubicBezTo>
                      <a:pt x="258792" y="189604"/>
                      <a:pt x="258792" y="185774"/>
                      <a:pt x="261349" y="183220"/>
                    </a:cubicBezTo>
                    <a:cubicBezTo>
                      <a:pt x="276685" y="168537"/>
                      <a:pt x="276685" y="144278"/>
                      <a:pt x="261349" y="128957"/>
                    </a:cubicBezTo>
                    <a:cubicBezTo>
                      <a:pt x="261349" y="129595"/>
                      <a:pt x="261349" y="129595"/>
                      <a:pt x="261349" y="128957"/>
                    </a:cubicBezTo>
                    <a:lnTo>
                      <a:pt x="261349" y="128957"/>
                    </a:lnTo>
                    <a:close/>
                    <a:moveTo>
                      <a:pt x="242179" y="149385"/>
                    </a:moveTo>
                    <a:cubicBezTo>
                      <a:pt x="239623" y="146832"/>
                      <a:pt x="239623" y="143001"/>
                      <a:pt x="241540" y="140448"/>
                    </a:cubicBezTo>
                    <a:cubicBezTo>
                      <a:pt x="244096" y="137894"/>
                      <a:pt x="247930" y="137894"/>
                      <a:pt x="250486" y="139809"/>
                    </a:cubicBezTo>
                    <a:cubicBezTo>
                      <a:pt x="250486" y="139809"/>
                      <a:pt x="250486" y="139809"/>
                      <a:pt x="250486" y="139809"/>
                    </a:cubicBezTo>
                    <a:cubicBezTo>
                      <a:pt x="259432" y="148108"/>
                      <a:pt x="260710" y="162153"/>
                      <a:pt x="252403" y="171091"/>
                    </a:cubicBezTo>
                    <a:cubicBezTo>
                      <a:pt x="251764" y="171729"/>
                      <a:pt x="251125" y="172368"/>
                      <a:pt x="250486" y="173006"/>
                    </a:cubicBezTo>
                    <a:cubicBezTo>
                      <a:pt x="249208" y="174283"/>
                      <a:pt x="247930" y="174921"/>
                      <a:pt x="246013" y="174921"/>
                    </a:cubicBezTo>
                    <a:cubicBezTo>
                      <a:pt x="242179" y="174921"/>
                      <a:pt x="239623" y="172368"/>
                      <a:pt x="239623" y="168537"/>
                    </a:cubicBezTo>
                    <a:cubicBezTo>
                      <a:pt x="239623" y="166622"/>
                      <a:pt x="240262" y="164707"/>
                      <a:pt x="241540" y="164068"/>
                    </a:cubicBezTo>
                    <a:cubicBezTo>
                      <a:pt x="243457" y="162153"/>
                      <a:pt x="244735" y="159600"/>
                      <a:pt x="244735" y="157046"/>
                    </a:cubicBezTo>
                    <a:cubicBezTo>
                      <a:pt x="245374" y="153854"/>
                      <a:pt x="244096" y="151300"/>
                      <a:pt x="242179" y="149385"/>
                    </a:cubicBezTo>
                    <a:close/>
                    <a:moveTo>
                      <a:pt x="111824" y="139809"/>
                    </a:moveTo>
                    <a:cubicBezTo>
                      <a:pt x="114380" y="137256"/>
                      <a:pt x="118214" y="137894"/>
                      <a:pt x="120770" y="140448"/>
                    </a:cubicBezTo>
                    <a:cubicBezTo>
                      <a:pt x="120770" y="140448"/>
                      <a:pt x="120770" y="140448"/>
                      <a:pt x="120770" y="140448"/>
                    </a:cubicBezTo>
                    <a:cubicBezTo>
                      <a:pt x="123326" y="143001"/>
                      <a:pt x="122687" y="146832"/>
                      <a:pt x="120131" y="149385"/>
                    </a:cubicBezTo>
                    <a:cubicBezTo>
                      <a:pt x="118214" y="151300"/>
                      <a:pt x="116936" y="153854"/>
                      <a:pt x="116936" y="156408"/>
                    </a:cubicBezTo>
                    <a:cubicBezTo>
                      <a:pt x="116936" y="158961"/>
                      <a:pt x="118214" y="161515"/>
                      <a:pt x="120131" y="163430"/>
                    </a:cubicBezTo>
                    <a:cubicBezTo>
                      <a:pt x="122687" y="165984"/>
                      <a:pt x="122687" y="169814"/>
                      <a:pt x="120770" y="172368"/>
                    </a:cubicBezTo>
                    <a:cubicBezTo>
                      <a:pt x="118214" y="174921"/>
                      <a:pt x="114380" y="174921"/>
                      <a:pt x="111824" y="173006"/>
                    </a:cubicBezTo>
                    <a:cubicBezTo>
                      <a:pt x="102878" y="164707"/>
                      <a:pt x="101600" y="150662"/>
                      <a:pt x="109907" y="141724"/>
                    </a:cubicBezTo>
                    <a:cubicBezTo>
                      <a:pt x="110546" y="141086"/>
                      <a:pt x="111185" y="140448"/>
                      <a:pt x="111824" y="139809"/>
                    </a:cubicBezTo>
                    <a:lnTo>
                      <a:pt x="111824" y="139809"/>
                    </a:lnTo>
                    <a:close/>
                    <a:moveTo>
                      <a:pt x="101600" y="120019"/>
                    </a:moveTo>
                    <a:cubicBezTo>
                      <a:pt x="104156" y="122573"/>
                      <a:pt x="104156" y="126403"/>
                      <a:pt x="101600" y="128957"/>
                    </a:cubicBezTo>
                    <a:cubicBezTo>
                      <a:pt x="101600" y="128957"/>
                      <a:pt x="101600" y="128957"/>
                      <a:pt x="101600" y="128957"/>
                    </a:cubicBezTo>
                    <a:cubicBezTo>
                      <a:pt x="86264" y="143640"/>
                      <a:pt x="86264" y="167899"/>
                      <a:pt x="101600" y="183220"/>
                    </a:cubicBezTo>
                    <a:cubicBezTo>
                      <a:pt x="101600" y="183220"/>
                      <a:pt x="101600" y="183220"/>
                      <a:pt x="101600" y="183220"/>
                    </a:cubicBezTo>
                    <a:cubicBezTo>
                      <a:pt x="104156" y="185774"/>
                      <a:pt x="104156" y="189604"/>
                      <a:pt x="101600" y="192158"/>
                    </a:cubicBezTo>
                    <a:cubicBezTo>
                      <a:pt x="99044" y="194711"/>
                      <a:pt x="95210" y="194711"/>
                      <a:pt x="92654" y="192158"/>
                    </a:cubicBezTo>
                    <a:lnTo>
                      <a:pt x="92654" y="192158"/>
                    </a:lnTo>
                    <a:cubicBezTo>
                      <a:pt x="72845" y="172368"/>
                      <a:pt x="72207" y="139809"/>
                      <a:pt x="92654" y="120019"/>
                    </a:cubicBezTo>
                    <a:cubicBezTo>
                      <a:pt x="92654" y="120019"/>
                      <a:pt x="92654" y="120019"/>
                      <a:pt x="92654" y="120019"/>
                    </a:cubicBezTo>
                    <a:cubicBezTo>
                      <a:pt x="95210" y="117465"/>
                      <a:pt x="99044" y="117465"/>
                      <a:pt x="101600" y="120019"/>
                    </a:cubicBezTo>
                    <a:close/>
                    <a:moveTo>
                      <a:pt x="82430" y="212587"/>
                    </a:moveTo>
                    <a:cubicBezTo>
                      <a:pt x="79874" y="215140"/>
                      <a:pt x="76040" y="215140"/>
                      <a:pt x="73484" y="212587"/>
                    </a:cubicBezTo>
                    <a:cubicBezTo>
                      <a:pt x="73484" y="212587"/>
                      <a:pt x="73484" y="212587"/>
                      <a:pt x="73484" y="212587"/>
                    </a:cubicBezTo>
                    <a:cubicBezTo>
                      <a:pt x="43452" y="181305"/>
                      <a:pt x="43452" y="131510"/>
                      <a:pt x="73484" y="100229"/>
                    </a:cubicBezTo>
                    <a:cubicBezTo>
                      <a:pt x="76040" y="97675"/>
                      <a:pt x="79874" y="97675"/>
                      <a:pt x="82430" y="100229"/>
                    </a:cubicBezTo>
                    <a:cubicBezTo>
                      <a:pt x="82430" y="100229"/>
                      <a:pt x="82430" y="100229"/>
                      <a:pt x="82430" y="100229"/>
                    </a:cubicBezTo>
                    <a:cubicBezTo>
                      <a:pt x="84986" y="102782"/>
                      <a:pt x="84986" y="106613"/>
                      <a:pt x="82430" y="109166"/>
                    </a:cubicBezTo>
                    <a:cubicBezTo>
                      <a:pt x="56871" y="135341"/>
                      <a:pt x="56871" y="176836"/>
                      <a:pt x="82430" y="203649"/>
                    </a:cubicBezTo>
                    <a:cubicBezTo>
                      <a:pt x="84986" y="206203"/>
                      <a:pt x="84347" y="210033"/>
                      <a:pt x="82430" y="212587"/>
                    </a:cubicBezTo>
                    <a:lnTo>
                      <a:pt x="82430" y="212587"/>
                    </a:lnTo>
                    <a:close/>
                    <a:moveTo>
                      <a:pt x="274128" y="256636"/>
                    </a:moveTo>
                    <a:cubicBezTo>
                      <a:pt x="272212" y="260467"/>
                      <a:pt x="267739" y="263020"/>
                      <a:pt x="263266" y="263020"/>
                    </a:cubicBezTo>
                    <a:lnTo>
                      <a:pt x="100961" y="263020"/>
                    </a:lnTo>
                    <a:cubicBezTo>
                      <a:pt x="93932" y="263020"/>
                      <a:pt x="88820" y="257275"/>
                      <a:pt x="88820" y="250252"/>
                    </a:cubicBezTo>
                    <a:cubicBezTo>
                      <a:pt x="88820" y="247699"/>
                      <a:pt x="89459" y="245783"/>
                      <a:pt x="90737" y="243868"/>
                    </a:cubicBezTo>
                    <a:lnTo>
                      <a:pt x="171251" y="114912"/>
                    </a:lnTo>
                    <a:cubicBezTo>
                      <a:pt x="175084" y="109166"/>
                      <a:pt x="183391" y="107889"/>
                      <a:pt x="189142" y="111720"/>
                    </a:cubicBezTo>
                    <a:cubicBezTo>
                      <a:pt x="190420" y="112358"/>
                      <a:pt x="191698" y="113635"/>
                      <a:pt x="192337" y="114912"/>
                    </a:cubicBezTo>
                    <a:lnTo>
                      <a:pt x="273490" y="243868"/>
                    </a:lnTo>
                    <a:cubicBezTo>
                      <a:pt x="276045" y="247699"/>
                      <a:pt x="276045" y="252806"/>
                      <a:pt x="274128" y="256636"/>
                    </a:cubicBezTo>
                    <a:lnTo>
                      <a:pt x="274128" y="256636"/>
                    </a:lnTo>
                    <a:close/>
                    <a:moveTo>
                      <a:pt x="290742" y="212587"/>
                    </a:moveTo>
                    <a:cubicBezTo>
                      <a:pt x="289464" y="213863"/>
                      <a:pt x="288186" y="214502"/>
                      <a:pt x="286270" y="214502"/>
                    </a:cubicBezTo>
                    <a:cubicBezTo>
                      <a:pt x="282435" y="214502"/>
                      <a:pt x="279880" y="211948"/>
                      <a:pt x="279880" y="208118"/>
                    </a:cubicBezTo>
                    <a:cubicBezTo>
                      <a:pt x="279880" y="206203"/>
                      <a:pt x="280518" y="204926"/>
                      <a:pt x="281796" y="203649"/>
                    </a:cubicBezTo>
                    <a:cubicBezTo>
                      <a:pt x="307356" y="177475"/>
                      <a:pt x="307356" y="135979"/>
                      <a:pt x="281796" y="109166"/>
                    </a:cubicBezTo>
                    <a:cubicBezTo>
                      <a:pt x="279240" y="106613"/>
                      <a:pt x="279240" y="102782"/>
                      <a:pt x="281796" y="100229"/>
                    </a:cubicBezTo>
                    <a:cubicBezTo>
                      <a:pt x="284352" y="97675"/>
                      <a:pt x="288186" y="97675"/>
                      <a:pt x="290742" y="100229"/>
                    </a:cubicBezTo>
                    <a:cubicBezTo>
                      <a:pt x="320775" y="131510"/>
                      <a:pt x="320136" y="181305"/>
                      <a:pt x="290103" y="212587"/>
                    </a:cubicBezTo>
                    <a:lnTo>
                      <a:pt x="290742" y="212587"/>
                    </a:lnTo>
                    <a:close/>
                  </a:path>
                </a:pathLst>
              </a:custGeom>
              <a:grpFill/>
              <a:ln w="6390" cap="flat">
                <a:noFill/>
                <a:prstDash val="solid"/>
                <a:miter/>
              </a:ln>
            </p:spPr>
            <p:txBody>
              <a:bodyPr rtlCol="0" anchor="ctr"/>
              <a:lstStyle/>
              <a:p>
                <a:endParaRPr lang="en-US">
                  <a:latin typeface="Aptos" panose="020B0004020202020204" pitchFamily="34" charset="0"/>
                </a:endParaRPr>
              </a:p>
            </p:txBody>
          </p:sp>
        </p:grpSp>
        <p:sp>
          <p:nvSpPr>
            <p:cNvPr id="55" name="Graphic 4">
              <a:extLst>
                <a:ext uri="{FF2B5EF4-FFF2-40B4-BE49-F238E27FC236}">
                  <a16:creationId xmlns:a16="http://schemas.microsoft.com/office/drawing/2014/main" id="{BB064699-F95C-88D8-F8AB-77973B37E7F9}"/>
                </a:ext>
              </a:extLst>
            </p:cNvPr>
            <p:cNvSpPr>
              <a:spLocks noChangeAspect="1"/>
            </p:cNvSpPr>
            <p:nvPr/>
          </p:nvSpPr>
          <p:spPr>
            <a:xfrm>
              <a:off x="6769415" y="472406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52403 w 362309"/>
                <a:gd name="connsiteY6" fmla="*/ 261743 h 361971"/>
                <a:gd name="connsiteX7" fmla="*/ 202561 w 362309"/>
                <a:gd name="connsiteY7" fmla="*/ 247060 h 361971"/>
                <a:gd name="connsiteX8" fmla="*/ 199366 w 362309"/>
                <a:gd name="connsiteY8" fmla="*/ 241315 h 361971"/>
                <a:gd name="connsiteX9" fmla="*/ 199366 w 362309"/>
                <a:gd name="connsiteY9" fmla="*/ 224716 h 361971"/>
                <a:gd name="connsiteX10" fmla="*/ 201283 w 362309"/>
                <a:gd name="connsiteY10" fmla="*/ 220247 h 361971"/>
                <a:gd name="connsiteX11" fmla="*/ 223009 w 362309"/>
                <a:gd name="connsiteY11" fmla="*/ 141724 h 361971"/>
                <a:gd name="connsiteX12" fmla="*/ 215341 w 362309"/>
                <a:gd name="connsiteY12" fmla="*/ 122572 h 361971"/>
                <a:gd name="connsiteX13" fmla="*/ 181474 w 362309"/>
                <a:gd name="connsiteY13" fmla="*/ 112358 h 361971"/>
                <a:gd name="connsiteX14" fmla="*/ 146969 w 362309"/>
                <a:gd name="connsiteY14" fmla="*/ 122572 h 361971"/>
                <a:gd name="connsiteX15" fmla="*/ 139301 w 362309"/>
                <a:gd name="connsiteY15" fmla="*/ 141724 h 361971"/>
                <a:gd name="connsiteX16" fmla="*/ 161026 w 362309"/>
                <a:gd name="connsiteY16" fmla="*/ 220247 h 361971"/>
                <a:gd name="connsiteX17" fmla="*/ 162943 w 362309"/>
                <a:gd name="connsiteY17" fmla="*/ 224716 h 361971"/>
                <a:gd name="connsiteX18" fmla="*/ 162943 w 362309"/>
                <a:gd name="connsiteY18" fmla="*/ 241315 h 361971"/>
                <a:gd name="connsiteX19" fmla="*/ 159748 w 362309"/>
                <a:gd name="connsiteY19" fmla="*/ 247060 h 361971"/>
                <a:gd name="connsiteX20" fmla="*/ 109907 w 362309"/>
                <a:gd name="connsiteY20" fmla="*/ 261743 h 361971"/>
                <a:gd name="connsiteX21" fmla="*/ 109268 w 362309"/>
                <a:gd name="connsiteY21" fmla="*/ 261743 h 361971"/>
                <a:gd name="connsiteX22" fmla="*/ 102878 w 362309"/>
                <a:gd name="connsiteY22" fmla="*/ 255359 h 361971"/>
                <a:gd name="connsiteX23" fmla="*/ 109268 w 362309"/>
                <a:gd name="connsiteY23" fmla="*/ 248975 h 361971"/>
                <a:gd name="connsiteX24" fmla="*/ 150802 w 362309"/>
                <a:gd name="connsiteY24" fmla="*/ 236846 h 361971"/>
                <a:gd name="connsiteX25" fmla="*/ 150802 w 362309"/>
                <a:gd name="connsiteY25" fmla="*/ 226631 h 361971"/>
                <a:gd name="connsiteX26" fmla="*/ 127160 w 362309"/>
                <a:gd name="connsiteY26" fmla="*/ 141086 h 361971"/>
                <a:gd name="connsiteX27" fmla="*/ 138661 w 362309"/>
                <a:gd name="connsiteY27" fmla="*/ 112996 h 361971"/>
                <a:gd name="connsiteX28" fmla="*/ 181474 w 362309"/>
                <a:gd name="connsiteY28" fmla="*/ 98952 h 361971"/>
                <a:gd name="connsiteX29" fmla="*/ 224287 w 362309"/>
                <a:gd name="connsiteY29" fmla="*/ 112996 h 361971"/>
                <a:gd name="connsiteX30" fmla="*/ 235788 w 362309"/>
                <a:gd name="connsiteY30" fmla="*/ 141086 h 361971"/>
                <a:gd name="connsiteX31" fmla="*/ 212146 w 362309"/>
                <a:gd name="connsiteY31" fmla="*/ 226631 h 361971"/>
                <a:gd name="connsiteX32" fmla="*/ 212146 w 362309"/>
                <a:gd name="connsiteY32" fmla="*/ 236846 h 361971"/>
                <a:gd name="connsiteX33" fmla="*/ 253680 w 362309"/>
                <a:gd name="connsiteY33" fmla="*/ 248975 h 361971"/>
                <a:gd name="connsiteX34" fmla="*/ 259431 w 362309"/>
                <a:gd name="connsiteY34" fmla="*/ 255998 h 361971"/>
                <a:gd name="connsiteX35" fmla="*/ 252403 w 362309"/>
                <a:gd name="connsiteY35" fmla="*/ 261743 h 361971"/>
                <a:gd name="connsiteX36" fmla="*/ 252403 w 362309"/>
                <a:gd name="connsiteY36" fmla="*/ 26174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1077"/>
                    <a:pt x="281157" y="0"/>
                    <a:pt x="181474" y="0"/>
                  </a:cubicBezTo>
                  <a:close/>
                  <a:moveTo>
                    <a:pt x="252403" y="261743"/>
                  </a:moveTo>
                  <a:cubicBezTo>
                    <a:pt x="235150" y="259828"/>
                    <a:pt x="217897" y="254721"/>
                    <a:pt x="202561" y="247060"/>
                  </a:cubicBezTo>
                  <a:cubicBezTo>
                    <a:pt x="200644" y="245783"/>
                    <a:pt x="198727" y="243868"/>
                    <a:pt x="199366" y="241315"/>
                  </a:cubicBezTo>
                  <a:lnTo>
                    <a:pt x="199366" y="224716"/>
                  </a:lnTo>
                  <a:cubicBezTo>
                    <a:pt x="199366" y="222801"/>
                    <a:pt x="200005" y="221524"/>
                    <a:pt x="201283" y="220247"/>
                  </a:cubicBezTo>
                  <a:cubicBezTo>
                    <a:pt x="219814" y="201734"/>
                    <a:pt x="223009" y="176836"/>
                    <a:pt x="223009" y="141724"/>
                  </a:cubicBezTo>
                  <a:cubicBezTo>
                    <a:pt x="223648" y="134702"/>
                    <a:pt x="220453" y="127680"/>
                    <a:pt x="215341" y="122572"/>
                  </a:cubicBezTo>
                  <a:cubicBezTo>
                    <a:pt x="205756" y="112996"/>
                    <a:pt x="187864" y="111720"/>
                    <a:pt x="181474" y="112358"/>
                  </a:cubicBezTo>
                  <a:cubicBezTo>
                    <a:pt x="180835" y="112358"/>
                    <a:pt x="159109" y="111720"/>
                    <a:pt x="146969" y="122572"/>
                  </a:cubicBezTo>
                  <a:cubicBezTo>
                    <a:pt x="141856" y="127680"/>
                    <a:pt x="139301" y="134702"/>
                    <a:pt x="139301" y="141724"/>
                  </a:cubicBezTo>
                  <a:cubicBezTo>
                    <a:pt x="139301" y="176836"/>
                    <a:pt x="143134" y="201734"/>
                    <a:pt x="161026" y="220247"/>
                  </a:cubicBezTo>
                  <a:cubicBezTo>
                    <a:pt x="162304" y="221524"/>
                    <a:pt x="162943" y="222801"/>
                    <a:pt x="162943" y="224716"/>
                  </a:cubicBezTo>
                  <a:lnTo>
                    <a:pt x="162943" y="241315"/>
                  </a:lnTo>
                  <a:cubicBezTo>
                    <a:pt x="162943" y="243868"/>
                    <a:pt x="161665" y="245783"/>
                    <a:pt x="159748" y="247060"/>
                  </a:cubicBezTo>
                  <a:cubicBezTo>
                    <a:pt x="143774" y="254721"/>
                    <a:pt x="127160" y="259828"/>
                    <a:pt x="109907" y="261743"/>
                  </a:cubicBezTo>
                  <a:lnTo>
                    <a:pt x="109268" y="261743"/>
                  </a:lnTo>
                  <a:cubicBezTo>
                    <a:pt x="105434" y="261743"/>
                    <a:pt x="102878" y="259190"/>
                    <a:pt x="102878" y="255359"/>
                  </a:cubicBezTo>
                  <a:cubicBezTo>
                    <a:pt x="102878" y="251529"/>
                    <a:pt x="105434" y="248975"/>
                    <a:pt x="109268" y="248975"/>
                  </a:cubicBezTo>
                  <a:cubicBezTo>
                    <a:pt x="123965" y="247060"/>
                    <a:pt x="138022" y="243230"/>
                    <a:pt x="150802" y="236846"/>
                  </a:cubicBezTo>
                  <a:lnTo>
                    <a:pt x="150802" y="226631"/>
                  </a:lnTo>
                  <a:cubicBezTo>
                    <a:pt x="130994" y="205564"/>
                    <a:pt x="127160" y="176836"/>
                    <a:pt x="127160" y="141086"/>
                  </a:cubicBezTo>
                  <a:cubicBezTo>
                    <a:pt x="126521" y="130233"/>
                    <a:pt x="130994" y="120019"/>
                    <a:pt x="138661" y="112996"/>
                  </a:cubicBezTo>
                  <a:cubicBezTo>
                    <a:pt x="154636" y="98313"/>
                    <a:pt x="180835" y="98952"/>
                    <a:pt x="181474" y="98952"/>
                  </a:cubicBezTo>
                  <a:cubicBezTo>
                    <a:pt x="182113" y="98952"/>
                    <a:pt x="208312" y="97675"/>
                    <a:pt x="224287" y="112996"/>
                  </a:cubicBezTo>
                  <a:cubicBezTo>
                    <a:pt x="231955" y="120657"/>
                    <a:pt x="235788" y="130872"/>
                    <a:pt x="235788" y="141086"/>
                  </a:cubicBezTo>
                  <a:cubicBezTo>
                    <a:pt x="235788" y="176836"/>
                    <a:pt x="231315" y="205564"/>
                    <a:pt x="212146" y="226631"/>
                  </a:cubicBezTo>
                  <a:lnTo>
                    <a:pt x="212146" y="236846"/>
                  </a:lnTo>
                  <a:cubicBezTo>
                    <a:pt x="225565" y="243230"/>
                    <a:pt x="239623" y="247060"/>
                    <a:pt x="253680" y="248975"/>
                  </a:cubicBezTo>
                  <a:cubicBezTo>
                    <a:pt x="257514" y="248975"/>
                    <a:pt x="260070" y="252167"/>
                    <a:pt x="259431" y="255998"/>
                  </a:cubicBezTo>
                  <a:cubicBezTo>
                    <a:pt x="258792" y="259190"/>
                    <a:pt x="255597" y="261743"/>
                    <a:pt x="252403" y="261743"/>
                  </a:cubicBezTo>
                  <a:lnTo>
                    <a:pt x="252403" y="261743"/>
                  </a:lnTo>
                  <a:close/>
                </a:path>
              </a:pathLst>
            </a:custGeom>
            <a:solidFill>
              <a:schemeClr val="accent1"/>
            </a:solidFill>
            <a:ln w="6390" cap="flat">
              <a:noFill/>
              <a:prstDash val="solid"/>
              <a:miter/>
            </a:ln>
          </p:spPr>
          <p:txBody>
            <a:bodyPr rtlCol="0" anchor="ctr"/>
            <a:lstStyle/>
            <a:p>
              <a:endParaRPr lang="en-US">
                <a:latin typeface="Aptos" panose="020B0004020202020204" pitchFamily="34" charset="0"/>
              </a:endParaRPr>
            </a:p>
          </p:txBody>
        </p:sp>
        <p:grpSp>
          <p:nvGrpSpPr>
            <p:cNvPr id="56" name="Graphic 4">
              <a:extLst>
                <a:ext uri="{FF2B5EF4-FFF2-40B4-BE49-F238E27FC236}">
                  <a16:creationId xmlns:a16="http://schemas.microsoft.com/office/drawing/2014/main" id="{5C310C13-1A67-FB29-6D54-106F193DBA49}"/>
                </a:ext>
              </a:extLst>
            </p:cNvPr>
            <p:cNvGrpSpPr>
              <a:grpSpLocks noChangeAspect="1"/>
            </p:cNvGrpSpPr>
            <p:nvPr/>
          </p:nvGrpSpPr>
          <p:grpSpPr>
            <a:xfrm>
              <a:off x="6765902" y="2126622"/>
              <a:ext cx="362309" cy="361971"/>
              <a:chOff x="6146480" y="4793256"/>
              <a:chExt cx="362309" cy="361971"/>
            </a:xfrm>
            <a:solidFill>
              <a:schemeClr val="accent1"/>
            </a:solidFill>
          </p:grpSpPr>
          <p:sp>
            <p:nvSpPr>
              <p:cNvPr id="60" name="Graphic 4">
                <a:extLst>
                  <a:ext uri="{FF2B5EF4-FFF2-40B4-BE49-F238E27FC236}">
                    <a16:creationId xmlns:a16="http://schemas.microsoft.com/office/drawing/2014/main" id="{022BC08B-98EB-4808-FC2B-ED64DCF182EC}"/>
                  </a:ext>
                </a:extLst>
              </p:cNvPr>
              <p:cNvSpPr/>
              <p:nvPr/>
            </p:nvSpPr>
            <p:spPr>
              <a:xfrm>
                <a:off x="6146480"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7864 w 362309"/>
                  <a:gd name="connsiteY7" fmla="*/ 248337 h 361971"/>
                  <a:gd name="connsiteX8" fmla="*/ 183391 w 362309"/>
                  <a:gd name="connsiteY8" fmla="*/ 252167 h 361971"/>
                  <a:gd name="connsiteX9" fmla="*/ 184669 w 362309"/>
                  <a:gd name="connsiteY9" fmla="*/ 257913 h 361971"/>
                  <a:gd name="connsiteX10" fmla="*/ 180196 w 362309"/>
                  <a:gd name="connsiteY10" fmla="*/ 278341 h 361971"/>
                  <a:gd name="connsiteX11" fmla="*/ 168055 w 362309"/>
                  <a:gd name="connsiteY11" fmla="*/ 280257 h 361971"/>
                  <a:gd name="connsiteX12" fmla="*/ 161665 w 362309"/>
                  <a:gd name="connsiteY12" fmla="*/ 280895 h 361971"/>
                  <a:gd name="connsiteX13" fmla="*/ 159109 w 362309"/>
                  <a:gd name="connsiteY13" fmla="*/ 286002 h 361971"/>
                  <a:gd name="connsiteX14" fmla="*/ 148885 w 362309"/>
                  <a:gd name="connsiteY14" fmla="*/ 299409 h 361971"/>
                  <a:gd name="connsiteX15" fmla="*/ 145690 w 362309"/>
                  <a:gd name="connsiteY15" fmla="*/ 300047 h 361971"/>
                  <a:gd name="connsiteX16" fmla="*/ 132911 w 362309"/>
                  <a:gd name="connsiteY16" fmla="*/ 294301 h 361971"/>
                  <a:gd name="connsiteX17" fmla="*/ 127799 w 362309"/>
                  <a:gd name="connsiteY17" fmla="*/ 291109 h 361971"/>
                  <a:gd name="connsiteX18" fmla="*/ 122686 w 362309"/>
                  <a:gd name="connsiteY18" fmla="*/ 294301 h 361971"/>
                  <a:gd name="connsiteX19" fmla="*/ 106712 w 362309"/>
                  <a:gd name="connsiteY19" fmla="*/ 298770 h 361971"/>
                  <a:gd name="connsiteX20" fmla="*/ 97127 w 362309"/>
                  <a:gd name="connsiteY20" fmla="*/ 285364 h 361971"/>
                  <a:gd name="connsiteX21" fmla="*/ 94571 w 362309"/>
                  <a:gd name="connsiteY21" fmla="*/ 279618 h 361971"/>
                  <a:gd name="connsiteX22" fmla="*/ 88820 w 362309"/>
                  <a:gd name="connsiteY22" fmla="*/ 278980 h 361971"/>
                  <a:gd name="connsiteX23" fmla="*/ 72845 w 362309"/>
                  <a:gd name="connsiteY23" fmla="*/ 273234 h 361971"/>
                  <a:gd name="connsiteX24" fmla="*/ 72845 w 362309"/>
                  <a:gd name="connsiteY24" fmla="*/ 256636 h 361971"/>
                  <a:gd name="connsiteX25" fmla="*/ 74123 w 362309"/>
                  <a:gd name="connsiteY25" fmla="*/ 250252 h 361971"/>
                  <a:gd name="connsiteX26" fmla="*/ 69650 w 362309"/>
                  <a:gd name="connsiteY26" fmla="*/ 245783 h 361971"/>
                  <a:gd name="connsiteX27" fmla="*/ 60065 w 362309"/>
                  <a:gd name="connsiteY27" fmla="*/ 232377 h 361971"/>
                  <a:gd name="connsiteX28" fmla="*/ 69650 w 362309"/>
                  <a:gd name="connsiteY28" fmla="*/ 218971 h 361971"/>
                  <a:gd name="connsiteX29" fmla="*/ 74123 w 362309"/>
                  <a:gd name="connsiteY29" fmla="*/ 215140 h 361971"/>
                  <a:gd name="connsiteX30" fmla="*/ 72845 w 362309"/>
                  <a:gd name="connsiteY30" fmla="*/ 209395 h 361971"/>
                  <a:gd name="connsiteX31" fmla="*/ 76679 w 362309"/>
                  <a:gd name="connsiteY31" fmla="*/ 188966 h 361971"/>
                  <a:gd name="connsiteX32" fmla="*/ 88820 w 362309"/>
                  <a:gd name="connsiteY32" fmla="*/ 187051 h 361971"/>
                  <a:gd name="connsiteX33" fmla="*/ 95210 w 362309"/>
                  <a:gd name="connsiteY33" fmla="*/ 186412 h 361971"/>
                  <a:gd name="connsiteX34" fmla="*/ 97766 w 362309"/>
                  <a:gd name="connsiteY34" fmla="*/ 181305 h 361971"/>
                  <a:gd name="connsiteX35" fmla="*/ 107990 w 362309"/>
                  <a:gd name="connsiteY35" fmla="*/ 167899 h 361971"/>
                  <a:gd name="connsiteX36" fmla="*/ 123965 w 362309"/>
                  <a:gd name="connsiteY36" fmla="*/ 173006 h 361971"/>
                  <a:gd name="connsiteX37" fmla="*/ 129076 w 362309"/>
                  <a:gd name="connsiteY37" fmla="*/ 176198 h 361971"/>
                  <a:gd name="connsiteX38" fmla="*/ 134189 w 362309"/>
                  <a:gd name="connsiteY38" fmla="*/ 173006 h 361971"/>
                  <a:gd name="connsiteX39" fmla="*/ 150164 w 362309"/>
                  <a:gd name="connsiteY39" fmla="*/ 168537 h 361971"/>
                  <a:gd name="connsiteX40" fmla="*/ 159748 w 362309"/>
                  <a:gd name="connsiteY40" fmla="*/ 181944 h 361971"/>
                  <a:gd name="connsiteX41" fmla="*/ 162304 w 362309"/>
                  <a:gd name="connsiteY41" fmla="*/ 187689 h 361971"/>
                  <a:gd name="connsiteX42" fmla="*/ 168055 w 362309"/>
                  <a:gd name="connsiteY42" fmla="*/ 188327 h 361971"/>
                  <a:gd name="connsiteX43" fmla="*/ 184030 w 362309"/>
                  <a:gd name="connsiteY43" fmla="*/ 194073 h 361971"/>
                  <a:gd name="connsiteX44" fmla="*/ 184030 w 362309"/>
                  <a:gd name="connsiteY44" fmla="*/ 210671 h 361971"/>
                  <a:gd name="connsiteX45" fmla="*/ 182752 w 362309"/>
                  <a:gd name="connsiteY45" fmla="*/ 217055 h 361971"/>
                  <a:gd name="connsiteX46" fmla="*/ 187225 w 362309"/>
                  <a:gd name="connsiteY46" fmla="*/ 221524 h 361971"/>
                  <a:gd name="connsiteX47" fmla="*/ 196810 w 362309"/>
                  <a:gd name="connsiteY47" fmla="*/ 234930 h 361971"/>
                  <a:gd name="connsiteX48" fmla="*/ 187864 w 362309"/>
                  <a:gd name="connsiteY48" fmla="*/ 248337 h 361971"/>
                  <a:gd name="connsiteX49" fmla="*/ 187864 w 362309"/>
                  <a:gd name="connsiteY49" fmla="*/ 248337 h 361971"/>
                  <a:gd name="connsiteX50" fmla="*/ 293298 w 362309"/>
                  <a:gd name="connsiteY50" fmla="*/ 142363 h 361971"/>
                  <a:gd name="connsiteX51" fmla="*/ 288825 w 362309"/>
                  <a:gd name="connsiteY51" fmla="*/ 146193 h 361971"/>
                  <a:gd name="connsiteX52" fmla="*/ 290103 w 362309"/>
                  <a:gd name="connsiteY52" fmla="*/ 151939 h 361971"/>
                  <a:gd name="connsiteX53" fmla="*/ 285630 w 362309"/>
                  <a:gd name="connsiteY53" fmla="*/ 172368 h 361971"/>
                  <a:gd name="connsiteX54" fmla="*/ 273489 w 362309"/>
                  <a:gd name="connsiteY54" fmla="*/ 174283 h 361971"/>
                  <a:gd name="connsiteX55" fmla="*/ 267099 w 362309"/>
                  <a:gd name="connsiteY55" fmla="*/ 174921 h 361971"/>
                  <a:gd name="connsiteX56" fmla="*/ 264543 w 362309"/>
                  <a:gd name="connsiteY56" fmla="*/ 180028 h 361971"/>
                  <a:gd name="connsiteX57" fmla="*/ 254319 w 362309"/>
                  <a:gd name="connsiteY57" fmla="*/ 193435 h 361971"/>
                  <a:gd name="connsiteX58" fmla="*/ 251124 w 362309"/>
                  <a:gd name="connsiteY58" fmla="*/ 194073 h 361971"/>
                  <a:gd name="connsiteX59" fmla="*/ 238345 w 362309"/>
                  <a:gd name="connsiteY59" fmla="*/ 188327 h 361971"/>
                  <a:gd name="connsiteX60" fmla="*/ 233233 w 362309"/>
                  <a:gd name="connsiteY60" fmla="*/ 185135 h 361971"/>
                  <a:gd name="connsiteX61" fmla="*/ 228120 w 362309"/>
                  <a:gd name="connsiteY61" fmla="*/ 188327 h 361971"/>
                  <a:gd name="connsiteX62" fmla="*/ 212146 w 362309"/>
                  <a:gd name="connsiteY62" fmla="*/ 192796 h 361971"/>
                  <a:gd name="connsiteX63" fmla="*/ 201922 w 362309"/>
                  <a:gd name="connsiteY63" fmla="*/ 179390 h 361971"/>
                  <a:gd name="connsiteX64" fmla="*/ 199366 w 362309"/>
                  <a:gd name="connsiteY64" fmla="*/ 173644 h 361971"/>
                  <a:gd name="connsiteX65" fmla="*/ 193615 w 362309"/>
                  <a:gd name="connsiteY65" fmla="*/ 173006 h 361971"/>
                  <a:gd name="connsiteX66" fmla="*/ 175723 w 362309"/>
                  <a:gd name="connsiteY66" fmla="*/ 162792 h 361971"/>
                  <a:gd name="connsiteX67" fmla="*/ 177640 w 362309"/>
                  <a:gd name="connsiteY67" fmla="*/ 150662 h 361971"/>
                  <a:gd name="connsiteX68" fmla="*/ 178918 w 362309"/>
                  <a:gd name="connsiteY68" fmla="*/ 144278 h 361971"/>
                  <a:gd name="connsiteX69" fmla="*/ 174445 w 362309"/>
                  <a:gd name="connsiteY69" fmla="*/ 139809 h 361971"/>
                  <a:gd name="connsiteX70" fmla="*/ 164860 w 362309"/>
                  <a:gd name="connsiteY70" fmla="*/ 126403 h 361971"/>
                  <a:gd name="connsiteX71" fmla="*/ 174445 w 362309"/>
                  <a:gd name="connsiteY71" fmla="*/ 112997 h 361971"/>
                  <a:gd name="connsiteX72" fmla="*/ 178918 w 362309"/>
                  <a:gd name="connsiteY72" fmla="*/ 109166 h 361971"/>
                  <a:gd name="connsiteX73" fmla="*/ 177640 w 362309"/>
                  <a:gd name="connsiteY73" fmla="*/ 103421 h 361971"/>
                  <a:gd name="connsiteX74" fmla="*/ 178279 w 362309"/>
                  <a:gd name="connsiteY74" fmla="*/ 86822 h 361971"/>
                  <a:gd name="connsiteX75" fmla="*/ 194254 w 362309"/>
                  <a:gd name="connsiteY75" fmla="*/ 81715 h 361971"/>
                  <a:gd name="connsiteX76" fmla="*/ 200644 w 362309"/>
                  <a:gd name="connsiteY76" fmla="*/ 81077 h 361971"/>
                  <a:gd name="connsiteX77" fmla="*/ 203200 w 362309"/>
                  <a:gd name="connsiteY77" fmla="*/ 75969 h 361971"/>
                  <a:gd name="connsiteX78" fmla="*/ 213424 w 362309"/>
                  <a:gd name="connsiteY78" fmla="*/ 62563 h 361971"/>
                  <a:gd name="connsiteX79" fmla="*/ 229399 w 362309"/>
                  <a:gd name="connsiteY79" fmla="*/ 67670 h 361971"/>
                  <a:gd name="connsiteX80" fmla="*/ 234510 w 362309"/>
                  <a:gd name="connsiteY80" fmla="*/ 70862 h 361971"/>
                  <a:gd name="connsiteX81" fmla="*/ 239623 w 362309"/>
                  <a:gd name="connsiteY81" fmla="*/ 67670 h 361971"/>
                  <a:gd name="connsiteX82" fmla="*/ 255597 w 362309"/>
                  <a:gd name="connsiteY82" fmla="*/ 63201 h 361971"/>
                  <a:gd name="connsiteX83" fmla="*/ 265182 w 362309"/>
                  <a:gd name="connsiteY83" fmla="*/ 76608 h 361971"/>
                  <a:gd name="connsiteX84" fmla="*/ 267738 w 362309"/>
                  <a:gd name="connsiteY84" fmla="*/ 82353 h 361971"/>
                  <a:gd name="connsiteX85" fmla="*/ 273489 w 362309"/>
                  <a:gd name="connsiteY85" fmla="*/ 82992 h 361971"/>
                  <a:gd name="connsiteX86" fmla="*/ 289464 w 362309"/>
                  <a:gd name="connsiteY86" fmla="*/ 88737 h 361971"/>
                  <a:gd name="connsiteX87" fmla="*/ 289464 w 362309"/>
                  <a:gd name="connsiteY87" fmla="*/ 105336 h 361971"/>
                  <a:gd name="connsiteX88" fmla="*/ 288186 w 362309"/>
                  <a:gd name="connsiteY88" fmla="*/ 111720 h 361971"/>
                  <a:gd name="connsiteX89" fmla="*/ 293298 w 362309"/>
                  <a:gd name="connsiteY89" fmla="*/ 116189 h 361971"/>
                  <a:gd name="connsiteX90" fmla="*/ 301605 w 362309"/>
                  <a:gd name="connsiteY90" fmla="*/ 135341 h 361971"/>
                  <a:gd name="connsiteX91" fmla="*/ 293298 w 362309"/>
                  <a:gd name="connsiteY91" fmla="*/ 142363 h 361971"/>
                  <a:gd name="connsiteX92" fmla="*/ 293298 w 362309"/>
                  <a:gd name="connsiteY92" fmla="*/ 14236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0438"/>
                      <a:pt x="281157" y="0"/>
                      <a:pt x="181474" y="0"/>
                    </a:cubicBezTo>
                    <a:lnTo>
                      <a:pt x="181474" y="0"/>
                    </a:lnTo>
                    <a:close/>
                    <a:moveTo>
                      <a:pt x="187864" y="248337"/>
                    </a:moveTo>
                    <a:cubicBezTo>
                      <a:pt x="185947" y="249614"/>
                      <a:pt x="184669" y="250890"/>
                      <a:pt x="183391" y="252167"/>
                    </a:cubicBezTo>
                    <a:cubicBezTo>
                      <a:pt x="183391" y="254082"/>
                      <a:pt x="184030" y="255998"/>
                      <a:pt x="184669" y="257913"/>
                    </a:cubicBezTo>
                    <a:cubicBezTo>
                      <a:pt x="189142" y="264935"/>
                      <a:pt x="187225" y="273873"/>
                      <a:pt x="180196" y="278341"/>
                    </a:cubicBezTo>
                    <a:cubicBezTo>
                      <a:pt x="176362" y="280895"/>
                      <a:pt x="171889" y="281533"/>
                      <a:pt x="168055" y="280257"/>
                    </a:cubicBezTo>
                    <a:cubicBezTo>
                      <a:pt x="166138" y="280257"/>
                      <a:pt x="163582" y="280257"/>
                      <a:pt x="161665" y="280895"/>
                    </a:cubicBezTo>
                    <a:cubicBezTo>
                      <a:pt x="160387" y="282810"/>
                      <a:pt x="159748" y="284087"/>
                      <a:pt x="159109" y="286002"/>
                    </a:cubicBezTo>
                    <a:cubicBezTo>
                      <a:pt x="157192" y="291109"/>
                      <a:pt x="154636" y="297493"/>
                      <a:pt x="148885" y="299409"/>
                    </a:cubicBezTo>
                    <a:cubicBezTo>
                      <a:pt x="147607" y="300047"/>
                      <a:pt x="146329" y="300047"/>
                      <a:pt x="145690" y="300047"/>
                    </a:cubicBezTo>
                    <a:cubicBezTo>
                      <a:pt x="141217" y="299409"/>
                      <a:pt x="136744" y="297493"/>
                      <a:pt x="132911" y="294301"/>
                    </a:cubicBezTo>
                    <a:cubicBezTo>
                      <a:pt x="131633" y="293025"/>
                      <a:pt x="129716" y="291748"/>
                      <a:pt x="127799" y="291109"/>
                    </a:cubicBezTo>
                    <a:cubicBezTo>
                      <a:pt x="125881" y="291748"/>
                      <a:pt x="123965" y="293025"/>
                      <a:pt x="122686" y="294301"/>
                    </a:cubicBezTo>
                    <a:cubicBezTo>
                      <a:pt x="118214" y="298132"/>
                      <a:pt x="112463" y="300047"/>
                      <a:pt x="106712" y="298770"/>
                    </a:cubicBezTo>
                    <a:cubicBezTo>
                      <a:pt x="100322" y="296855"/>
                      <a:pt x="98405" y="290471"/>
                      <a:pt x="97127" y="285364"/>
                    </a:cubicBezTo>
                    <a:cubicBezTo>
                      <a:pt x="96488" y="283449"/>
                      <a:pt x="95849" y="281533"/>
                      <a:pt x="94571" y="279618"/>
                    </a:cubicBezTo>
                    <a:cubicBezTo>
                      <a:pt x="92654" y="278980"/>
                      <a:pt x="90737" y="278980"/>
                      <a:pt x="88820" y="278980"/>
                    </a:cubicBezTo>
                    <a:cubicBezTo>
                      <a:pt x="83069" y="279618"/>
                      <a:pt x="76679" y="277703"/>
                      <a:pt x="72845" y="273234"/>
                    </a:cubicBezTo>
                    <a:cubicBezTo>
                      <a:pt x="70289" y="268127"/>
                      <a:pt x="70289" y="261743"/>
                      <a:pt x="72845" y="256636"/>
                    </a:cubicBezTo>
                    <a:cubicBezTo>
                      <a:pt x="73484" y="254721"/>
                      <a:pt x="74123" y="252167"/>
                      <a:pt x="74123" y="250252"/>
                    </a:cubicBezTo>
                    <a:cubicBezTo>
                      <a:pt x="72845" y="248337"/>
                      <a:pt x="70928" y="247060"/>
                      <a:pt x="69650" y="245783"/>
                    </a:cubicBezTo>
                    <a:cubicBezTo>
                      <a:pt x="65177" y="242591"/>
                      <a:pt x="60065" y="238122"/>
                      <a:pt x="60065" y="232377"/>
                    </a:cubicBezTo>
                    <a:cubicBezTo>
                      <a:pt x="60065" y="226631"/>
                      <a:pt x="65816" y="222163"/>
                      <a:pt x="69650" y="218971"/>
                    </a:cubicBezTo>
                    <a:cubicBezTo>
                      <a:pt x="71567" y="217694"/>
                      <a:pt x="72845" y="216417"/>
                      <a:pt x="74123" y="215140"/>
                    </a:cubicBezTo>
                    <a:cubicBezTo>
                      <a:pt x="74123" y="213225"/>
                      <a:pt x="73484" y="211310"/>
                      <a:pt x="72845" y="209395"/>
                    </a:cubicBezTo>
                    <a:cubicBezTo>
                      <a:pt x="68372" y="202372"/>
                      <a:pt x="70289" y="193435"/>
                      <a:pt x="76679" y="188966"/>
                    </a:cubicBezTo>
                    <a:cubicBezTo>
                      <a:pt x="80513" y="186412"/>
                      <a:pt x="84986" y="185774"/>
                      <a:pt x="88820" y="187051"/>
                    </a:cubicBezTo>
                    <a:cubicBezTo>
                      <a:pt x="90737" y="187051"/>
                      <a:pt x="93293" y="187051"/>
                      <a:pt x="95210" y="186412"/>
                    </a:cubicBezTo>
                    <a:cubicBezTo>
                      <a:pt x="95849" y="184497"/>
                      <a:pt x="97127" y="182582"/>
                      <a:pt x="97766" y="181305"/>
                    </a:cubicBezTo>
                    <a:cubicBezTo>
                      <a:pt x="99683" y="176198"/>
                      <a:pt x="102239" y="169814"/>
                      <a:pt x="107990" y="167899"/>
                    </a:cubicBezTo>
                    <a:cubicBezTo>
                      <a:pt x="113741" y="167260"/>
                      <a:pt x="120131" y="169176"/>
                      <a:pt x="123965" y="173006"/>
                    </a:cubicBezTo>
                    <a:cubicBezTo>
                      <a:pt x="125243" y="174283"/>
                      <a:pt x="127160" y="175560"/>
                      <a:pt x="129076" y="176198"/>
                    </a:cubicBezTo>
                    <a:cubicBezTo>
                      <a:pt x="130994" y="175560"/>
                      <a:pt x="132911" y="174283"/>
                      <a:pt x="134189" y="173006"/>
                    </a:cubicBezTo>
                    <a:cubicBezTo>
                      <a:pt x="138661" y="169176"/>
                      <a:pt x="144412" y="167260"/>
                      <a:pt x="150164" y="168537"/>
                    </a:cubicBezTo>
                    <a:cubicBezTo>
                      <a:pt x="156553" y="170452"/>
                      <a:pt x="158470" y="176836"/>
                      <a:pt x="159748" y="181944"/>
                    </a:cubicBezTo>
                    <a:cubicBezTo>
                      <a:pt x="160387" y="183859"/>
                      <a:pt x="161026" y="185774"/>
                      <a:pt x="162304" y="187689"/>
                    </a:cubicBezTo>
                    <a:cubicBezTo>
                      <a:pt x="164221" y="188327"/>
                      <a:pt x="166138" y="188327"/>
                      <a:pt x="168055" y="188327"/>
                    </a:cubicBezTo>
                    <a:cubicBezTo>
                      <a:pt x="173806" y="187689"/>
                      <a:pt x="179557" y="189604"/>
                      <a:pt x="184030" y="194073"/>
                    </a:cubicBezTo>
                    <a:cubicBezTo>
                      <a:pt x="186586" y="199180"/>
                      <a:pt x="186586" y="205564"/>
                      <a:pt x="184030" y="210671"/>
                    </a:cubicBezTo>
                    <a:cubicBezTo>
                      <a:pt x="183391" y="212587"/>
                      <a:pt x="182752" y="215140"/>
                      <a:pt x="182752" y="217055"/>
                    </a:cubicBezTo>
                    <a:cubicBezTo>
                      <a:pt x="184030" y="218971"/>
                      <a:pt x="185947" y="220247"/>
                      <a:pt x="187225" y="221524"/>
                    </a:cubicBezTo>
                    <a:cubicBezTo>
                      <a:pt x="191698" y="224716"/>
                      <a:pt x="196810" y="229185"/>
                      <a:pt x="196810" y="234930"/>
                    </a:cubicBezTo>
                    <a:cubicBezTo>
                      <a:pt x="196810" y="240676"/>
                      <a:pt x="191698" y="245145"/>
                      <a:pt x="187864" y="248337"/>
                    </a:cubicBezTo>
                    <a:lnTo>
                      <a:pt x="187864" y="248337"/>
                    </a:lnTo>
                    <a:close/>
                    <a:moveTo>
                      <a:pt x="293298" y="142363"/>
                    </a:moveTo>
                    <a:cubicBezTo>
                      <a:pt x="291381" y="143640"/>
                      <a:pt x="290103" y="144916"/>
                      <a:pt x="288825" y="146193"/>
                    </a:cubicBezTo>
                    <a:cubicBezTo>
                      <a:pt x="288825" y="148108"/>
                      <a:pt x="289464" y="150024"/>
                      <a:pt x="290103" y="151939"/>
                    </a:cubicBezTo>
                    <a:cubicBezTo>
                      <a:pt x="294576" y="158961"/>
                      <a:pt x="292659" y="167899"/>
                      <a:pt x="285630" y="172368"/>
                    </a:cubicBezTo>
                    <a:cubicBezTo>
                      <a:pt x="281796" y="174921"/>
                      <a:pt x="277962" y="175560"/>
                      <a:pt x="273489" y="174283"/>
                    </a:cubicBezTo>
                    <a:cubicBezTo>
                      <a:pt x="271572" y="174283"/>
                      <a:pt x="269016" y="174283"/>
                      <a:pt x="267099" y="174921"/>
                    </a:cubicBezTo>
                    <a:cubicBezTo>
                      <a:pt x="265821" y="176836"/>
                      <a:pt x="265182" y="178752"/>
                      <a:pt x="264543" y="180028"/>
                    </a:cubicBezTo>
                    <a:cubicBezTo>
                      <a:pt x="262626" y="185135"/>
                      <a:pt x="260070" y="191519"/>
                      <a:pt x="254319" y="193435"/>
                    </a:cubicBezTo>
                    <a:cubicBezTo>
                      <a:pt x="253041" y="194073"/>
                      <a:pt x="251763" y="194073"/>
                      <a:pt x="251124" y="194073"/>
                    </a:cubicBezTo>
                    <a:cubicBezTo>
                      <a:pt x="246651" y="193435"/>
                      <a:pt x="242178" y="191519"/>
                      <a:pt x="238345" y="188327"/>
                    </a:cubicBezTo>
                    <a:cubicBezTo>
                      <a:pt x="236428" y="187051"/>
                      <a:pt x="235150" y="185774"/>
                      <a:pt x="233233" y="185135"/>
                    </a:cubicBezTo>
                    <a:cubicBezTo>
                      <a:pt x="231315" y="185774"/>
                      <a:pt x="229399" y="187051"/>
                      <a:pt x="228120" y="188327"/>
                    </a:cubicBezTo>
                    <a:cubicBezTo>
                      <a:pt x="223648" y="192158"/>
                      <a:pt x="217897" y="194073"/>
                      <a:pt x="212146" y="192796"/>
                    </a:cubicBezTo>
                    <a:cubicBezTo>
                      <a:pt x="205756" y="190881"/>
                      <a:pt x="203839" y="184497"/>
                      <a:pt x="201922" y="179390"/>
                    </a:cubicBezTo>
                    <a:cubicBezTo>
                      <a:pt x="201283" y="177475"/>
                      <a:pt x="200644" y="175560"/>
                      <a:pt x="199366" y="173644"/>
                    </a:cubicBezTo>
                    <a:cubicBezTo>
                      <a:pt x="197449" y="173006"/>
                      <a:pt x="195532" y="173006"/>
                      <a:pt x="193615" y="173006"/>
                    </a:cubicBezTo>
                    <a:cubicBezTo>
                      <a:pt x="185947" y="174921"/>
                      <a:pt x="177640" y="170452"/>
                      <a:pt x="175723" y="162792"/>
                    </a:cubicBezTo>
                    <a:cubicBezTo>
                      <a:pt x="174445" y="158961"/>
                      <a:pt x="175084" y="154492"/>
                      <a:pt x="177640" y="150662"/>
                    </a:cubicBezTo>
                    <a:cubicBezTo>
                      <a:pt x="178279" y="148747"/>
                      <a:pt x="178918" y="146193"/>
                      <a:pt x="178918" y="144278"/>
                    </a:cubicBezTo>
                    <a:cubicBezTo>
                      <a:pt x="177640" y="142363"/>
                      <a:pt x="175723" y="141086"/>
                      <a:pt x="174445" y="139809"/>
                    </a:cubicBezTo>
                    <a:cubicBezTo>
                      <a:pt x="169972" y="136617"/>
                      <a:pt x="164860" y="132149"/>
                      <a:pt x="164860" y="126403"/>
                    </a:cubicBezTo>
                    <a:cubicBezTo>
                      <a:pt x="164860" y="120657"/>
                      <a:pt x="170611" y="116189"/>
                      <a:pt x="174445" y="112997"/>
                    </a:cubicBezTo>
                    <a:cubicBezTo>
                      <a:pt x="176362" y="111720"/>
                      <a:pt x="177640" y="110443"/>
                      <a:pt x="178918" y="109166"/>
                    </a:cubicBezTo>
                    <a:cubicBezTo>
                      <a:pt x="178918" y="107251"/>
                      <a:pt x="178279" y="105336"/>
                      <a:pt x="177640" y="103421"/>
                    </a:cubicBezTo>
                    <a:cubicBezTo>
                      <a:pt x="175084" y="98313"/>
                      <a:pt x="175723" y="91929"/>
                      <a:pt x="178279" y="86822"/>
                    </a:cubicBezTo>
                    <a:cubicBezTo>
                      <a:pt x="182113" y="82992"/>
                      <a:pt x="188503" y="80438"/>
                      <a:pt x="194254" y="81715"/>
                    </a:cubicBezTo>
                    <a:cubicBezTo>
                      <a:pt x="196171" y="81715"/>
                      <a:pt x="198727" y="81715"/>
                      <a:pt x="200644" y="81077"/>
                    </a:cubicBezTo>
                    <a:cubicBezTo>
                      <a:pt x="201922" y="79161"/>
                      <a:pt x="202561" y="77885"/>
                      <a:pt x="203200" y="75969"/>
                    </a:cubicBezTo>
                    <a:cubicBezTo>
                      <a:pt x="205117" y="70862"/>
                      <a:pt x="207673" y="64478"/>
                      <a:pt x="213424" y="62563"/>
                    </a:cubicBezTo>
                    <a:cubicBezTo>
                      <a:pt x="219175" y="61925"/>
                      <a:pt x="225565" y="63840"/>
                      <a:pt x="229399" y="67670"/>
                    </a:cubicBezTo>
                    <a:cubicBezTo>
                      <a:pt x="230677" y="68947"/>
                      <a:pt x="232593" y="70224"/>
                      <a:pt x="234510" y="70862"/>
                    </a:cubicBezTo>
                    <a:cubicBezTo>
                      <a:pt x="236428" y="70224"/>
                      <a:pt x="238345" y="68947"/>
                      <a:pt x="239623" y="67670"/>
                    </a:cubicBezTo>
                    <a:cubicBezTo>
                      <a:pt x="244095" y="63840"/>
                      <a:pt x="249846" y="62563"/>
                      <a:pt x="255597" y="63201"/>
                    </a:cubicBezTo>
                    <a:cubicBezTo>
                      <a:pt x="261348" y="65117"/>
                      <a:pt x="263904" y="71501"/>
                      <a:pt x="265182" y="76608"/>
                    </a:cubicBezTo>
                    <a:cubicBezTo>
                      <a:pt x="265821" y="78523"/>
                      <a:pt x="266460" y="80438"/>
                      <a:pt x="267738" y="82353"/>
                    </a:cubicBezTo>
                    <a:cubicBezTo>
                      <a:pt x="269655" y="82992"/>
                      <a:pt x="271572" y="82992"/>
                      <a:pt x="273489" y="82992"/>
                    </a:cubicBezTo>
                    <a:cubicBezTo>
                      <a:pt x="279240" y="82353"/>
                      <a:pt x="284991" y="84269"/>
                      <a:pt x="289464" y="88737"/>
                    </a:cubicBezTo>
                    <a:cubicBezTo>
                      <a:pt x="292020" y="93845"/>
                      <a:pt x="292020" y="100229"/>
                      <a:pt x="289464" y="105336"/>
                    </a:cubicBezTo>
                    <a:cubicBezTo>
                      <a:pt x="288825" y="107251"/>
                      <a:pt x="288186" y="109805"/>
                      <a:pt x="288186" y="111720"/>
                    </a:cubicBezTo>
                    <a:cubicBezTo>
                      <a:pt x="289464" y="113635"/>
                      <a:pt x="291381" y="114912"/>
                      <a:pt x="293298" y="116189"/>
                    </a:cubicBezTo>
                    <a:cubicBezTo>
                      <a:pt x="300966" y="119381"/>
                      <a:pt x="304161" y="127680"/>
                      <a:pt x="301605" y="135341"/>
                    </a:cubicBezTo>
                    <a:cubicBezTo>
                      <a:pt x="300327" y="138533"/>
                      <a:pt x="297132" y="141086"/>
                      <a:pt x="293298" y="142363"/>
                    </a:cubicBezTo>
                    <a:lnTo>
                      <a:pt x="293298" y="142363"/>
                    </a:ln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1" name="Graphic 4">
                <a:extLst>
                  <a:ext uri="{FF2B5EF4-FFF2-40B4-BE49-F238E27FC236}">
                    <a16:creationId xmlns:a16="http://schemas.microsoft.com/office/drawing/2014/main" id="{872D1580-76CA-510C-F55D-18267A718BAA}"/>
                  </a:ext>
                </a:extLst>
              </p:cNvPr>
              <p:cNvSpPr/>
              <p:nvPr/>
            </p:nvSpPr>
            <p:spPr>
              <a:xfrm>
                <a:off x="6218686" y="4973284"/>
                <a:ext cx="112462" cy="106612"/>
              </a:xfrm>
              <a:custGeom>
                <a:avLst/>
                <a:gdLst>
                  <a:gd name="connsiteX0" fmla="*/ 99044 w 112462"/>
                  <a:gd name="connsiteY0" fmla="*/ 40219 h 106612"/>
                  <a:gd name="connsiteX1" fmla="*/ 99044 w 112462"/>
                  <a:gd name="connsiteY1" fmla="*/ 40219 h 106612"/>
                  <a:gd name="connsiteX2" fmla="*/ 100322 w 112462"/>
                  <a:gd name="connsiteY2" fmla="*/ 26174 h 106612"/>
                  <a:gd name="connsiteX3" fmla="*/ 101600 w 112462"/>
                  <a:gd name="connsiteY3" fmla="*/ 21067 h 106612"/>
                  <a:gd name="connsiteX4" fmla="*/ 95849 w 112462"/>
                  <a:gd name="connsiteY4" fmla="*/ 21067 h 106612"/>
                  <a:gd name="connsiteX5" fmla="*/ 82430 w 112462"/>
                  <a:gd name="connsiteY5" fmla="*/ 17875 h 106612"/>
                  <a:gd name="connsiteX6" fmla="*/ 75401 w 112462"/>
                  <a:gd name="connsiteY6" fmla="*/ 5745 h 106612"/>
                  <a:gd name="connsiteX7" fmla="*/ 73484 w 112462"/>
                  <a:gd name="connsiteY7" fmla="*/ 638 h 106612"/>
                  <a:gd name="connsiteX8" fmla="*/ 69011 w 112462"/>
                  <a:gd name="connsiteY8" fmla="*/ 3830 h 106612"/>
                  <a:gd name="connsiteX9" fmla="*/ 56231 w 112462"/>
                  <a:gd name="connsiteY9" fmla="*/ 8937 h 106612"/>
                  <a:gd name="connsiteX10" fmla="*/ 44090 w 112462"/>
                  <a:gd name="connsiteY10" fmla="*/ 3192 h 106612"/>
                  <a:gd name="connsiteX11" fmla="*/ 38978 w 112462"/>
                  <a:gd name="connsiteY11" fmla="*/ 0 h 106612"/>
                  <a:gd name="connsiteX12" fmla="*/ 36423 w 112462"/>
                  <a:gd name="connsiteY12" fmla="*/ 5107 h 106612"/>
                  <a:gd name="connsiteX13" fmla="*/ 29394 w 112462"/>
                  <a:gd name="connsiteY13" fmla="*/ 16598 h 106612"/>
                  <a:gd name="connsiteX14" fmla="*/ 15975 w 112462"/>
                  <a:gd name="connsiteY14" fmla="*/ 19790 h 106612"/>
                  <a:gd name="connsiteX15" fmla="*/ 10863 w 112462"/>
                  <a:gd name="connsiteY15" fmla="*/ 19790 h 106612"/>
                  <a:gd name="connsiteX16" fmla="*/ 12141 w 112462"/>
                  <a:gd name="connsiteY16" fmla="*/ 24897 h 106612"/>
                  <a:gd name="connsiteX17" fmla="*/ 5112 w 112462"/>
                  <a:gd name="connsiteY17" fmla="*/ 47880 h 106612"/>
                  <a:gd name="connsiteX18" fmla="*/ 4473 w 112462"/>
                  <a:gd name="connsiteY18" fmla="*/ 48518 h 106612"/>
                  <a:gd name="connsiteX19" fmla="*/ 0 w 112462"/>
                  <a:gd name="connsiteY19" fmla="*/ 52348 h 106612"/>
                  <a:gd name="connsiteX20" fmla="*/ 3834 w 112462"/>
                  <a:gd name="connsiteY20" fmla="*/ 55540 h 106612"/>
                  <a:gd name="connsiteX21" fmla="*/ 11502 w 112462"/>
                  <a:gd name="connsiteY21" fmla="*/ 79161 h 106612"/>
                  <a:gd name="connsiteX22" fmla="*/ 11502 w 112462"/>
                  <a:gd name="connsiteY22" fmla="*/ 79800 h 106612"/>
                  <a:gd name="connsiteX23" fmla="*/ 10224 w 112462"/>
                  <a:gd name="connsiteY23" fmla="*/ 84907 h 106612"/>
                  <a:gd name="connsiteX24" fmla="*/ 15975 w 112462"/>
                  <a:gd name="connsiteY24" fmla="*/ 84907 h 106612"/>
                  <a:gd name="connsiteX25" fmla="*/ 29394 w 112462"/>
                  <a:gd name="connsiteY25" fmla="*/ 88099 h 106612"/>
                  <a:gd name="connsiteX26" fmla="*/ 36423 w 112462"/>
                  <a:gd name="connsiteY26" fmla="*/ 100228 h 106612"/>
                  <a:gd name="connsiteX27" fmla="*/ 38340 w 112462"/>
                  <a:gd name="connsiteY27" fmla="*/ 105336 h 106612"/>
                  <a:gd name="connsiteX28" fmla="*/ 42813 w 112462"/>
                  <a:gd name="connsiteY28" fmla="*/ 102782 h 106612"/>
                  <a:gd name="connsiteX29" fmla="*/ 55593 w 112462"/>
                  <a:gd name="connsiteY29" fmla="*/ 97675 h 106612"/>
                  <a:gd name="connsiteX30" fmla="*/ 55593 w 112462"/>
                  <a:gd name="connsiteY30" fmla="*/ 97675 h 106612"/>
                  <a:gd name="connsiteX31" fmla="*/ 67733 w 112462"/>
                  <a:gd name="connsiteY31" fmla="*/ 103420 h 106612"/>
                  <a:gd name="connsiteX32" fmla="*/ 72845 w 112462"/>
                  <a:gd name="connsiteY32" fmla="*/ 106612 h 106612"/>
                  <a:gd name="connsiteX33" fmla="*/ 75401 w 112462"/>
                  <a:gd name="connsiteY33" fmla="*/ 101505 h 106612"/>
                  <a:gd name="connsiteX34" fmla="*/ 82430 w 112462"/>
                  <a:gd name="connsiteY34" fmla="*/ 90014 h 106612"/>
                  <a:gd name="connsiteX35" fmla="*/ 95849 w 112462"/>
                  <a:gd name="connsiteY35" fmla="*/ 86822 h 106612"/>
                  <a:gd name="connsiteX36" fmla="*/ 101600 w 112462"/>
                  <a:gd name="connsiteY36" fmla="*/ 86822 h 106612"/>
                  <a:gd name="connsiteX37" fmla="*/ 100322 w 112462"/>
                  <a:gd name="connsiteY37" fmla="*/ 81715 h 106612"/>
                  <a:gd name="connsiteX38" fmla="*/ 99044 w 112462"/>
                  <a:gd name="connsiteY38" fmla="*/ 68308 h 106612"/>
                  <a:gd name="connsiteX39" fmla="*/ 107990 w 112462"/>
                  <a:gd name="connsiteY39" fmla="*/ 58094 h 106612"/>
                  <a:gd name="connsiteX40" fmla="*/ 112463 w 112462"/>
                  <a:gd name="connsiteY40" fmla="*/ 54902 h 106612"/>
                  <a:gd name="connsiteX41" fmla="*/ 108629 w 112462"/>
                  <a:gd name="connsiteY41" fmla="*/ 51710 h 106612"/>
                  <a:gd name="connsiteX42" fmla="*/ 99044 w 112462"/>
                  <a:gd name="connsiteY42" fmla="*/ 40219 h 106612"/>
                  <a:gd name="connsiteX43" fmla="*/ 63260 w 112462"/>
                  <a:gd name="connsiteY43" fmla="*/ 77884 h 106612"/>
                  <a:gd name="connsiteX44" fmla="*/ 31310 w 112462"/>
                  <a:gd name="connsiteY44" fmla="*/ 61286 h 106612"/>
                  <a:gd name="connsiteX45" fmla="*/ 47925 w 112462"/>
                  <a:gd name="connsiteY45" fmla="*/ 29366 h 106612"/>
                  <a:gd name="connsiteX46" fmla="*/ 79874 w 112462"/>
                  <a:gd name="connsiteY46" fmla="*/ 45964 h 106612"/>
                  <a:gd name="connsiteX47" fmla="*/ 79874 w 112462"/>
                  <a:gd name="connsiteY47" fmla="*/ 45964 h 106612"/>
                  <a:gd name="connsiteX48" fmla="*/ 63260 w 112462"/>
                  <a:gd name="connsiteY48" fmla="*/ 77884 h 106612"/>
                  <a:gd name="connsiteX49" fmla="*/ 63260 w 112462"/>
                  <a:gd name="connsiteY49" fmla="*/ 77884 h 10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2462" h="106612">
                    <a:moveTo>
                      <a:pt x="99044" y="40219"/>
                    </a:moveTo>
                    <a:lnTo>
                      <a:pt x="99044" y="40219"/>
                    </a:lnTo>
                    <a:cubicBezTo>
                      <a:pt x="98405" y="35750"/>
                      <a:pt x="98405" y="30643"/>
                      <a:pt x="100322" y="26174"/>
                    </a:cubicBezTo>
                    <a:cubicBezTo>
                      <a:pt x="100961" y="24259"/>
                      <a:pt x="101600" y="22344"/>
                      <a:pt x="101600" y="21067"/>
                    </a:cubicBezTo>
                    <a:cubicBezTo>
                      <a:pt x="100322" y="21067"/>
                      <a:pt x="97766" y="21067"/>
                      <a:pt x="95849" y="21067"/>
                    </a:cubicBezTo>
                    <a:cubicBezTo>
                      <a:pt x="91376" y="21067"/>
                      <a:pt x="86903" y="20428"/>
                      <a:pt x="82430" y="17875"/>
                    </a:cubicBezTo>
                    <a:cubicBezTo>
                      <a:pt x="79235" y="14683"/>
                      <a:pt x="76679" y="10852"/>
                      <a:pt x="75401" y="5745"/>
                    </a:cubicBezTo>
                    <a:cubicBezTo>
                      <a:pt x="74762" y="3830"/>
                      <a:pt x="74123" y="2553"/>
                      <a:pt x="73484" y="638"/>
                    </a:cubicBezTo>
                    <a:cubicBezTo>
                      <a:pt x="71567" y="1276"/>
                      <a:pt x="70289" y="2553"/>
                      <a:pt x="69011" y="3830"/>
                    </a:cubicBezTo>
                    <a:cubicBezTo>
                      <a:pt x="65177" y="7022"/>
                      <a:pt x="60704" y="8937"/>
                      <a:pt x="56231" y="8937"/>
                    </a:cubicBezTo>
                    <a:cubicBezTo>
                      <a:pt x="51758" y="8299"/>
                      <a:pt x="47285" y="6384"/>
                      <a:pt x="44090" y="3192"/>
                    </a:cubicBezTo>
                    <a:cubicBezTo>
                      <a:pt x="42813" y="1915"/>
                      <a:pt x="40895" y="638"/>
                      <a:pt x="38978" y="0"/>
                    </a:cubicBezTo>
                    <a:cubicBezTo>
                      <a:pt x="38340" y="1915"/>
                      <a:pt x="37062" y="3830"/>
                      <a:pt x="36423" y="5107"/>
                    </a:cubicBezTo>
                    <a:cubicBezTo>
                      <a:pt x="35145" y="9576"/>
                      <a:pt x="32589" y="13406"/>
                      <a:pt x="29394" y="16598"/>
                    </a:cubicBezTo>
                    <a:cubicBezTo>
                      <a:pt x="25560" y="19152"/>
                      <a:pt x="20448" y="19790"/>
                      <a:pt x="15975" y="19790"/>
                    </a:cubicBezTo>
                    <a:cubicBezTo>
                      <a:pt x="14058" y="19790"/>
                      <a:pt x="12141" y="19790"/>
                      <a:pt x="10863" y="19790"/>
                    </a:cubicBezTo>
                    <a:cubicBezTo>
                      <a:pt x="10863" y="21705"/>
                      <a:pt x="11502" y="23620"/>
                      <a:pt x="12141" y="24897"/>
                    </a:cubicBezTo>
                    <a:cubicBezTo>
                      <a:pt x="16614" y="33196"/>
                      <a:pt x="13419" y="43411"/>
                      <a:pt x="5112" y="47880"/>
                    </a:cubicBezTo>
                    <a:cubicBezTo>
                      <a:pt x="5112" y="47880"/>
                      <a:pt x="4473" y="47880"/>
                      <a:pt x="4473" y="48518"/>
                    </a:cubicBezTo>
                    <a:cubicBezTo>
                      <a:pt x="3195" y="49795"/>
                      <a:pt x="1278" y="51072"/>
                      <a:pt x="0" y="52348"/>
                    </a:cubicBezTo>
                    <a:cubicBezTo>
                      <a:pt x="1278" y="53625"/>
                      <a:pt x="2556" y="54902"/>
                      <a:pt x="3834" y="55540"/>
                    </a:cubicBezTo>
                    <a:cubicBezTo>
                      <a:pt x="12780" y="60009"/>
                      <a:pt x="15975" y="70862"/>
                      <a:pt x="11502" y="79161"/>
                    </a:cubicBezTo>
                    <a:cubicBezTo>
                      <a:pt x="11502" y="79161"/>
                      <a:pt x="11502" y="79161"/>
                      <a:pt x="11502" y="79800"/>
                    </a:cubicBezTo>
                    <a:cubicBezTo>
                      <a:pt x="10863" y="81715"/>
                      <a:pt x="10224" y="83630"/>
                      <a:pt x="10224" y="84907"/>
                    </a:cubicBezTo>
                    <a:lnTo>
                      <a:pt x="15975" y="84907"/>
                    </a:lnTo>
                    <a:cubicBezTo>
                      <a:pt x="20448" y="84907"/>
                      <a:pt x="24921" y="85545"/>
                      <a:pt x="29394" y="88099"/>
                    </a:cubicBezTo>
                    <a:cubicBezTo>
                      <a:pt x="32589" y="91291"/>
                      <a:pt x="35145" y="95121"/>
                      <a:pt x="36423" y="100228"/>
                    </a:cubicBezTo>
                    <a:cubicBezTo>
                      <a:pt x="37062" y="102144"/>
                      <a:pt x="37700" y="103420"/>
                      <a:pt x="38340" y="105336"/>
                    </a:cubicBezTo>
                    <a:cubicBezTo>
                      <a:pt x="40257" y="104697"/>
                      <a:pt x="41535" y="103420"/>
                      <a:pt x="42813" y="102782"/>
                    </a:cubicBezTo>
                    <a:cubicBezTo>
                      <a:pt x="46646" y="99590"/>
                      <a:pt x="51119" y="97675"/>
                      <a:pt x="55593" y="97675"/>
                    </a:cubicBezTo>
                    <a:lnTo>
                      <a:pt x="55593" y="97675"/>
                    </a:lnTo>
                    <a:cubicBezTo>
                      <a:pt x="60065" y="98313"/>
                      <a:pt x="64538" y="100228"/>
                      <a:pt x="67733" y="103420"/>
                    </a:cubicBezTo>
                    <a:cubicBezTo>
                      <a:pt x="69011" y="104697"/>
                      <a:pt x="70928" y="105974"/>
                      <a:pt x="72845" y="106612"/>
                    </a:cubicBezTo>
                    <a:cubicBezTo>
                      <a:pt x="73484" y="104697"/>
                      <a:pt x="74762" y="102782"/>
                      <a:pt x="75401" y="101505"/>
                    </a:cubicBezTo>
                    <a:cubicBezTo>
                      <a:pt x="76679" y="97036"/>
                      <a:pt x="79235" y="93206"/>
                      <a:pt x="82430" y="90014"/>
                    </a:cubicBezTo>
                    <a:cubicBezTo>
                      <a:pt x="86264" y="87460"/>
                      <a:pt x="91376" y="86822"/>
                      <a:pt x="95849" y="86822"/>
                    </a:cubicBezTo>
                    <a:cubicBezTo>
                      <a:pt x="97766" y="86822"/>
                      <a:pt x="99683" y="86822"/>
                      <a:pt x="101600" y="86822"/>
                    </a:cubicBezTo>
                    <a:cubicBezTo>
                      <a:pt x="101600" y="84907"/>
                      <a:pt x="100961" y="82992"/>
                      <a:pt x="100322" y="81715"/>
                    </a:cubicBezTo>
                    <a:cubicBezTo>
                      <a:pt x="98405" y="77246"/>
                      <a:pt x="98405" y="72777"/>
                      <a:pt x="99044" y="68308"/>
                    </a:cubicBezTo>
                    <a:cubicBezTo>
                      <a:pt x="100961" y="63840"/>
                      <a:pt x="104156" y="60648"/>
                      <a:pt x="107990" y="58094"/>
                    </a:cubicBezTo>
                    <a:cubicBezTo>
                      <a:pt x="109268" y="56817"/>
                      <a:pt x="111185" y="55540"/>
                      <a:pt x="112463" y="54902"/>
                    </a:cubicBezTo>
                    <a:cubicBezTo>
                      <a:pt x="111185" y="53625"/>
                      <a:pt x="109907" y="52348"/>
                      <a:pt x="108629" y="51710"/>
                    </a:cubicBezTo>
                    <a:cubicBezTo>
                      <a:pt x="104156" y="47880"/>
                      <a:pt x="100961" y="44688"/>
                      <a:pt x="99044" y="40219"/>
                    </a:cubicBezTo>
                    <a:close/>
                    <a:moveTo>
                      <a:pt x="63260" y="77884"/>
                    </a:moveTo>
                    <a:cubicBezTo>
                      <a:pt x="49841" y="82353"/>
                      <a:pt x="35145" y="74692"/>
                      <a:pt x="31310" y="61286"/>
                    </a:cubicBezTo>
                    <a:cubicBezTo>
                      <a:pt x="26838" y="47880"/>
                      <a:pt x="34505" y="33196"/>
                      <a:pt x="47925" y="29366"/>
                    </a:cubicBezTo>
                    <a:cubicBezTo>
                      <a:pt x="61343" y="25536"/>
                      <a:pt x="76040" y="32558"/>
                      <a:pt x="79874" y="45964"/>
                    </a:cubicBezTo>
                    <a:cubicBezTo>
                      <a:pt x="79874" y="45964"/>
                      <a:pt x="79874" y="45964"/>
                      <a:pt x="79874" y="45964"/>
                    </a:cubicBezTo>
                    <a:cubicBezTo>
                      <a:pt x="84347" y="59371"/>
                      <a:pt x="77318" y="73416"/>
                      <a:pt x="63260" y="77884"/>
                    </a:cubicBezTo>
                    <a:cubicBezTo>
                      <a:pt x="63899" y="77884"/>
                      <a:pt x="63899" y="77884"/>
                      <a:pt x="63260" y="77884"/>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2" name="Graphic 4">
                <a:extLst>
                  <a:ext uri="{FF2B5EF4-FFF2-40B4-BE49-F238E27FC236}">
                    <a16:creationId xmlns:a16="http://schemas.microsoft.com/office/drawing/2014/main" id="{0204CE37-C4A4-D159-7361-4D7C80761FAE}"/>
                  </a:ext>
                </a:extLst>
              </p:cNvPr>
              <p:cNvSpPr/>
              <p:nvPr/>
            </p:nvSpPr>
            <p:spPr>
              <a:xfrm>
                <a:off x="6368153" y="4908806"/>
                <a:ext cx="26109" cy="26027"/>
              </a:xfrm>
              <a:custGeom>
                <a:avLst/>
                <a:gdLst>
                  <a:gd name="connsiteX0" fmla="*/ 18588 w 26109"/>
                  <a:gd name="connsiteY0" fmla="*/ 1277 h 26027"/>
                  <a:gd name="connsiteX1" fmla="*/ 12837 w 26109"/>
                  <a:gd name="connsiteY1" fmla="*/ 0 h 26027"/>
                  <a:gd name="connsiteX2" fmla="*/ 9004 w 26109"/>
                  <a:gd name="connsiteY2" fmla="*/ 639 h 26027"/>
                  <a:gd name="connsiteX3" fmla="*/ 1336 w 26109"/>
                  <a:gd name="connsiteY3" fmla="*/ 7023 h 26027"/>
                  <a:gd name="connsiteX4" fmla="*/ 697 w 26109"/>
                  <a:gd name="connsiteY4" fmla="*/ 16599 h 26027"/>
                  <a:gd name="connsiteX5" fmla="*/ 16672 w 26109"/>
                  <a:gd name="connsiteY5" fmla="*/ 25536 h 26027"/>
                  <a:gd name="connsiteX6" fmla="*/ 25617 w 26109"/>
                  <a:gd name="connsiteY6" fmla="*/ 9576 h 26027"/>
                  <a:gd name="connsiteX7" fmla="*/ 18588 w 26109"/>
                  <a:gd name="connsiteY7" fmla="*/ 1277 h 26027"/>
                  <a:gd name="connsiteX8" fmla="*/ 18588 w 26109"/>
                  <a:gd name="connsiteY8" fmla="*/ 1277 h 2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 h="26027">
                    <a:moveTo>
                      <a:pt x="18588" y="1277"/>
                    </a:moveTo>
                    <a:cubicBezTo>
                      <a:pt x="16672" y="639"/>
                      <a:pt x="14755" y="0"/>
                      <a:pt x="12837" y="0"/>
                    </a:cubicBezTo>
                    <a:cubicBezTo>
                      <a:pt x="11560" y="0"/>
                      <a:pt x="10282" y="0"/>
                      <a:pt x="9004" y="639"/>
                    </a:cubicBezTo>
                    <a:cubicBezTo>
                      <a:pt x="5809" y="1915"/>
                      <a:pt x="3252" y="3831"/>
                      <a:pt x="1336" y="7023"/>
                    </a:cubicBezTo>
                    <a:cubicBezTo>
                      <a:pt x="57" y="10215"/>
                      <a:pt x="-581" y="13407"/>
                      <a:pt x="697" y="16599"/>
                    </a:cubicBezTo>
                    <a:cubicBezTo>
                      <a:pt x="2614" y="23621"/>
                      <a:pt x="9642" y="27451"/>
                      <a:pt x="16672" y="25536"/>
                    </a:cubicBezTo>
                    <a:cubicBezTo>
                      <a:pt x="23700" y="23621"/>
                      <a:pt x="27535" y="16599"/>
                      <a:pt x="25617" y="9576"/>
                    </a:cubicBezTo>
                    <a:cubicBezTo>
                      <a:pt x="24340" y="5746"/>
                      <a:pt x="21783" y="2554"/>
                      <a:pt x="18588" y="1277"/>
                    </a:cubicBezTo>
                    <a:lnTo>
                      <a:pt x="18588" y="1277"/>
                    </a:ln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63" name="Graphic 4">
                <a:extLst>
                  <a:ext uri="{FF2B5EF4-FFF2-40B4-BE49-F238E27FC236}">
                    <a16:creationId xmlns:a16="http://schemas.microsoft.com/office/drawing/2014/main" id="{B4B11EC5-C89B-F3B4-9196-26FA5ED882B9}"/>
                  </a:ext>
                </a:extLst>
              </p:cNvPr>
              <p:cNvSpPr/>
              <p:nvPr/>
            </p:nvSpPr>
            <p:spPr>
              <a:xfrm>
                <a:off x="6262229" y="5014142"/>
                <a:ext cx="25377" cy="25445"/>
              </a:xfrm>
              <a:custGeom>
                <a:avLst/>
                <a:gdLst>
                  <a:gd name="connsiteX0" fmla="*/ 12689 w 25377"/>
                  <a:gd name="connsiteY0" fmla="*/ 0 h 25445"/>
                  <a:gd name="connsiteX1" fmla="*/ 8855 w 25377"/>
                  <a:gd name="connsiteY1" fmla="*/ 639 h 25445"/>
                  <a:gd name="connsiteX2" fmla="*/ 548 w 25377"/>
                  <a:gd name="connsiteY2" fmla="*/ 16599 h 25445"/>
                  <a:gd name="connsiteX3" fmla="*/ 16523 w 25377"/>
                  <a:gd name="connsiteY3" fmla="*/ 24898 h 25445"/>
                  <a:gd name="connsiteX4" fmla="*/ 24830 w 25377"/>
                  <a:gd name="connsiteY4" fmla="*/ 8938 h 25445"/>
                  <a:gd name="connsiteX5" fmla="*/ 12689 w 25377"/>
                  <a:gd name="connsiteY5" fmla="*/ 0 h 2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 h="25445">
                    <a:moveTo>
                      <a:pt x="12689" y="0"/>
                    </a:moveTo>
                    <a:cubicBezTo>
                      <a:pt x="11411" y="0"/>
                      <a:pt x="10133" y="0"/>
                      <a:pt x="8855" y="639"/>
                    </a:cubicBezTo>
                    <a:cubicBezTo>
                      <a:pt x="1826" y="2554"/>
                      <a:pt x="-1369" y="9576"/>
                      <a:pt x="548" y="16599"/>
                    </a:cubicBezTo>
                    <a:cubicBezTo>
                      <a:pt x="2465" y="23621"/>
                      <a:pt x="9494" y="26813"/>
                      <a:pt x="16523" y="24898"/>
                    </a:cubicBezTo>
                    <a:cubicBezTo>
                      <a:pt x="23552" y="22983"/>
                      <a:pt x="26747" y="15960"/>
                      <a:pt x="24830" y="8938"/>
                    </a:cubicBezTo>
                    <a:cubicBezTo>
                      <a:pt x="23552" y="3831"/>
                      <a:pt x="18440" y="0"/>
                      <a:pt x="12689" y="0"/>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sp>
            <p:nvSpPr>
              <p:cNvPr id="2240" name="Graphic 4">
                <a:extLst>
                  <a:ext uri="{FF2B5EF4-FFF2-40B4-BE49-F238E27FC236}">
                    <a16:creationId xmlns:a16="http://schemas.microsoft.com/office/drawing/2014/main" id="{49591B31-3CE4-8010-54BE-659B1D00CCA6}"/>
                  </a:ext>
                </a:extLst>
              </p:cNvPr>
              <p:cNvSpPr/>
              <p:nvPr/>
            </p:nvSpPr>
            <p:spPr>
              <a:xfrm>
                <a:off x="6324120" y="4866672"/>
                <a:ext cx="111823" cy="105335"/>
              </a:xfrm>
              <a:custGeom>
                <a:avLst/>
                <a:gdLst>
                  <a:gd name="connsiteX0" fmla="*/ 99683 w 111823"/>
                  <a:gd name="connsiteY0" fmla="*/ 40857 h 105335"/>
                  <a:gd name="connsiteX1" fmla="*/ 100961 w 111823"/>
                  <a:gd name="connsiteY1" fmla="*/ 26813 h 105335"/>
                  <a:gd name="connsiteX2" fmla="*/ 102239 w 111823"/>
                  <a:gd name="connsiteY2" fmla="*/ 21705 h 105335"/>
                  <a:gd name="connsiteX3" fmla="*/ 96488 w 111823"/>
                  <a:gd name="connsiteY3" fmla="*/ 21705 h 105335"/>
                  <a:gd name="connsiteX4" fmla="*/ 76679 w 111823"/>
                  <a:gd name="connsiteY4" fmla="*/ 7022 h 105335"/>
                  <a:gd name="connsiteX5" fmla="*/ 76679 w 111823"/>
                  <a:gd name="connsiteY5" fmla="*/ 6384 h 105335"/>
                  <a:gd name="connsiteX6" fmla="*/ 74762 w 111823"/>
                  <a:gd name="connsiteY6" fmla="*/ 1277 h 105335"/>
                  <a:gd name="connsiteX7" fmla="*/ 70289 w 111823"/>
                  <a:gd name="connsiteY7" fmla="*/ 3830 h 105335"/>
                  <a:gd name="connsiteX8" fmla="*/ 57509 w 111823"/>
                  <a:gd name="connsiteY8" fmla="*/ 8937 h 105335"/>
                  <a:gd name="connsiteX9" fmla="*/ 45368 w 111823"/>
                  <a:gd name="connsiteY9" fmla="*/ 3192 h 105335"/>
                  <a:gd name="connsiteX10" fmla="*/ 40257 w 111823"/>
                  <a:gd name="connsiteY10" fmla="*/ 0 h 105335"/>
                  <a:gd name="connsiteX11" fmla="*/ 37700 w 111823"/>
                  <a:gd name="connsiteY11" fmla="*/ 5107 h 105335"/>
                  <a:gd name="connsiteX12" fmla="*/ 30672 w 111823"/>
                  <a:gd name="connsiteY12" fmla="*/ 16598 h 105335"/>
                  <a:gd name="connsiteX13" fmla="*/ 17253 w 111823"/>
                  <a:gd name="connsiteY13" fmla="*/ 19790 h 105335"/>
                  <a:gd name="connsiteX14" fmla="*/ 11502 w 111823"/>
                  <a:gd name="connsiteY14" fmla="*/ 19790 h 105335"/>
                  <a:gd name="connsiteX15" fmla="*/ 12780 w 111823"/>
                  <a:gd name="connsiteY15" fmla="*/ 24897 h 105335"/>
                  <a:gd name="connsiteX16" fmla="*/ 5751 w 111823"/>
                  <a:gd name="connsiteY16" fmla="*/ 47880 h 105335"/>
                  <a:gd name="connsiteX17" fmla="*/ 4473 w 111823"/>
                  <a:gd name="connsiteY17" fmla="*/ 48518 h 105335"/>
                  <a:gd name="connsiteX18" fmla="*/ 0 w 111823"/>
                  <a:gd name="connsiteY18" fmla="*/ 52349 h 105335"/>
                  <a:gd name="connsiteX19" fmla="*/ 3834 w 111823"/>
                  <a:gd name="connsiteY19" fmla="*/ 55541 h 105335"/>
                  <a:gd name="connsiteX20" fmla="*/ 12141 w 111823"/>
                  <a:gd name="connsiteY20" fmla="*/ 79161 h 105335"/>
                  <a:gd name="connsiteX21" fmla="*/ 11502 w 111823"/>
                  <a:gd name="connsiteY21" fmla="*/ 79800 h 105335"/>
                  <a:gd name="connsiteX22" fmla="*/ 10224 w 111823"/>
                  <a:gd name="connsiteY22" fmla="*/ 84907 h 105335"/>
                  <a:gd name="connsiteX23" fmla="*/ 15975 w 111823"/>
                  <a:gd name="connsiteY23" fmla="*/ 84907 h 105335"/>
                  <a:gd name="connsiteX24" fmla="*/ 35783 w 111823"/>
                  <a:gd name="connsiteY24" fmla="*/ 98952 h 105335"/>
                  <a:gd name="connsiteX25" fmla="*/ 35783 w 111823"/>
                  <a:gd name="connsiteY25" fmla="*/ 99590 h 105335"/>
                  <a:gd name="connsiteX26" fmla="*/ 37700 w 111823"/>
                  <a:gd name="connsiteY26" fmla="*/ 104697 h 105335"/>
                  <a:gd name="connsiteX27" fmla="*/ 42173 w 111823"/>
                  <a:gd name="connsiteY27" fmla="*/ 101505 h 105335"/>
                  <a:gd name="connsiteX28" fmla="*/ 54953 w 111823"/>
                  <a:gd name="connsiteY28" fmla="*/ 96398 h 105335"/>
                  <a:gd name="connsiteX29" fmla="*/ 54953 w 111823"/>
                  <a:gd name="connsiteY29" fmla="*/ 96398 h 105335"/>
                  <a:gd name="connsiteX30" fmla="*/ 67094 w 111823"/>
                  <a:gd name="connsiteY30" fmla="*/ 102144 h 105335"/>
                  <a:gd name="connsiteX31" fmla="*/ 72206 w 111823"/>
                  <a:gd name="connsiteY31" fmla="*/ 105336 h 105335"/>
                  <a:gd name="connsiteX32" fmla="*/ 74762 w 111823"/>
                  <a:gd name="connsiteY32" fmla="*/ 100229 h 105335"/>
                  <a:gd name="connsiteX33" fmla="*/ 81791 w 111823"/>
                  <a:gd name="connsiteY33" fmla="*/ 88737 h 105335"/>
                  <a:gd name="connsiteX34" fmla="*/ 95210 w 111823"/>
                  <a:gd name="connsiteY34" fmla="*/ 85545 h 105335"/>
                  <a:gd name="connsiteX35" fmla="*/ 100961 w 111823"/>
                  <a:gd name="connsiteY35" fmla="*/ 85545 h 105335"/>
                  <a:gd name="connsiteX36" fmla="*/ 99683 w 111823"/>
                  <a:gd name="connsiteY36" fmla="*/ 80438 h 105335"/>
                  <a:gd name="connsiteX37" fmla="*/ 98405 w 111823"/>
                  <a:gd name="connsiteY37" fmla="*/ 67032 h 105335"/>
                  <a:gd name="connsiteX38" fmla="*/ 107351 w 111823"/>
                  <a:gd name="connsiteY38" fmla="*/ 56817 h 105335"/>
                  <a:gd name="connsiteX39" fmla="*/ 111824 w 111823"/>
                  <a:gd name="connsiteY39" fmla="*/ 52987 h 105335"/>
                  <a:gd name="connsiteX40" fmla="*/ 107990 w 111823"/>
                  <a:gd name="connsiteY40" fmla="*/ 49795 h 105335"/>
                  <a:gd name="connsiteX41" fmla="*/ 99683 w 111823"/>
                  <a:gd name="connsiteY41" fmla="*/ 40857 h 105335"/>
                  <a:gd name="connsiteX42" fmla="*/ 79235 w 111823"/>
                  <a:gd name="connsiteY42" fmla="*/ 65755 h 105335"/>
                  <a:gd name="connsiteX43" fmla="*/ 64538 w 111823"/>
                  <a:gd name="connsiteY43" fmla="*/ 78523 h 105335"/>
                  <a:gd name="connsiteX44" fmla="*/ 56870 w 111823"/>
                  <a:gd name="connsiteY44" fmla="*/ 79800 h 105335"/>
                  <a:gd name="connsiteX45" fmla="*/ 45368 w 111823"/>
                  <a:gd name="connsiteY45" fmla="*/ 76608 h 105335"/>
                  <a:gd name="connsiteX46" fmla="*/ 33867 w 111823"/>
                  <a:gd name="connsiteY46" fmla="*/ 42134 h 105335"/>
                  <a:gd name="connsiteX47" fmla="*/ 68372 w 111823"/>
                  <a:gd name="connsiteY47" fmla="*/ 30643 h 105335"/>
                  <a:gd name="connsiteX48" fmla="*/ 81152 w 111823"/>
                  <a:gd name="connsiteY48" fmla="*/ 45965 h 105335"/>
                  <a:gd name="connsiteX49" fmla="*/ 79235 w 111823"/>
                  <a:gd name="connsiteY49" fmla="*/ 65755 h 10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1823" h="105335">
                    <a:moveTo>
                      <a:pt x="99683" y="40857"/>
                    </a:moveTo>
                    <a:cubicBezTo>
                      <a:pt x="99044" y="36389"/>
                      <a:pt x="99044" y="31281"/>
                      <a:pt x="100961" y="26813"/>
                    </a:cubicBezTo>
                    <a:cubicBezTo>
                      <a:pt x="101600" y="24897"/>
                      <a:pt x="102239" y="22982"/>
                      <a:pt x="102239" y="21705"/>
                    </a:cubicBezTo>
                    <a:lnTo>
                      <a:pt x="96488" y="21705"/>
                    </a:lnTo>
                    <a:cubicBezTo>
                      <a:pt x="86903" y="22982"/>
                      <a:pt x="77957" y="16598"/>
                      <a:pt x="76679" y="7022"/>
                    </a:cubicBezTo>
                    <a:cubicBezTo>
                      <a:pt x="76679" y="7022"/>
                      <a:pt x="76679" y="6384"/>
                      <a:pt x="76679" y="6384"/>
                    </a:cubicBezTo>
                    <a:cubicBezTo>
                      <a:pt x="76040" y="4469"/>
                      <a:pt x="75401" y="3192"/>
                      <a:pt x="74762" y="1277"/>
                    </a:cubicBezTo>
                    <a:cubicBezTo>
                      <a:pt x="72845" y="1915"/>
                      <a:pt x="71567" y="3192"/>
                      <a:pt x="70289" y="3830"/>
                    </a:cubicBezTo>
                    <a:cubicBezTo>
                      <a:pt x="66455" y="7022"/>
                      <a:pt x="61982" y="8299"/>
                      <a:pt x="57509" y="8937"/>
                    </a:cubicBezTo>
                    <a:cubicBezTo>
                      <a:pt x="53036" y="8299"/>
                      <a:pt x="48563" y="6384"/>
                      <a:pt x="45368" y="3192"/>
                    </a:cubicBezTo>
                    <a:cubicBezTo>
                      <a:pt x="44090" y="1915"/>
                      <a:pt x="42173" y="1277"/>
                      <a:pt x="40257" y="0"/>
                    </a:cubicBezTo>
                    <a:cubicBezTo>
                      <a:pt x="39618" y="1915"/>
                      <a:pt x="38340" y="3192"/>
                      <a:pt x="37700" y="5107"/>
                    </a:cubicBezTo>
                    <a:cubicBezTo>
                      <a:pt x="36423" y="9576"/>
                      <a:pt x="33867" y="13406"/>
                      <a:pt x="30672" y="16598"/>
                    </a:cubicBezTo>
                    <a:cubicBezTo>
                      <a:pt x="26838" y="19152"/>
                      <a:pt x="21726" y="19790"/>
                      <a:pt x="17253" y="19790"/>
                    </a:cubicBezTo>
                    <a:cubicBezTo>
                      <a:pt x="15336" y="19790"/>
                      <a:pt x="13419" y="19790"/>
                      <a:pt x="11502" y="19790"/>
                    </a:cubicBezTo>
                    <a:cubicBezTo>
                      <a:pt x="11502" y="21705"/>
                      <a:pt x="12141" y="23621"/>
                      <a:pt x="12780" y="24897"/>
                    </a:cubicBezTo>
                    <a:cubicBezTo>
                      <a:pt x="17253" y="33197"/>
                      <a:pt x="14058" y="43411"/>
                      <a:pt x="5751" y="47880"/>
                    </a:cubicBezTo>
                    <a:cubicBezTo>
                      <a:pt x="5112" y="47880"/>
                      <a:pt x="5112" y="48518"/>
                      <a:pt x="4473" y="48518"/>
                    </a:cubicBezTo>
                    <a:cubicBezTo>
                      <a:pt x="3195" y="49795"/>
                      <a:pt x="1278" y="51072"/>
                      <a:pt x="0" y="52349"/>
                    </a:cubicBezTo>
                    <a:cubicBezTo>
                      <a:pt x="1278" y="53625"/>
                      <a:pt x="2556" y="54902"/>
                      <a:pt x="3834" y="55541"/>
                    </a:cubicBezTo>
                    <a:cubicBezTo>
                      <a:pt x="12780" y="60009"/>
                      <a:pt x="15975" y="70224"/>
                      <a:pt x="12141" y="79161"/>
                    </a:cubicBezTo>
                    <a:cubicBezTo>
                      <a:pt x="12141" y="79161"/>
                      <a:pt x="12141" y="79800"/>
                      <a:pt x="11502" y="79800"/>
                    </a:cubicBezTo>
                    <a:cubicBezTo>
                      <a:pt x="10863" y="81715"/>
                      <a:pt x="10224" y="83630"/>
                      <a:pt x="10224" y="84907"/>
                    </a:cubicBezTo>
                    <a:cubicBezTo>
                      <a:pt x="11502" y="84907"/>
                      <a:pt x="14058" y="84907"/>
                      <a:pt x="15975" y="84907"/>
                    </a:cubicBezTo>
                    <a:cubicBezTo>
                      <a:pt x="25560" y="83630"/>
                      <a:pt x="34505" y="89376"/>
                      <a:pt x="35783" y="98952"/>
                    </a:cubicBezTo>
                    <a:cubicBezTo>
                      <a:pt x="35783" y="98952"/>
                      <a:pt x="35783" y="99590"/>
                      <a:pt x="35783" y="99590"/>
                    </a:cubicBezTo>
                    <a:cubicBezTo>
                      <a:pt x="36423" y="101505"/>
                      <a:pt x="37062" y="102782"/>
                      <a:pt x="37700" y="104697"/>
                    </a:cubicBezTo>
                    <a:cubicBezTo>
                      <a:pt x="39618" y="104059"/>
                      <a:pt x="40895" y="102782"/>
                      <a:pt x="42173" y="101505"/>
                    </a:cubicBezTo>
                    <a:cubicBezTo>
                      <a:pt x="46008" y="98313"/>
                      <a:pt x="50480" y="97037"/>
                      <a:pt x="54953" y="96398"/>
                    </a:cubicBezTo>
                    <a:lnTo>
                      <a:pt x="54953" y="96398"/>
                    </a:lnTo>
                    <a:cubicBezTo>
                      <a:pt x="59426" y="97037"/>
                      <a:pt x="63899" y="98952"/>
                      <a:pt x="67094" y="102144"/>
                    </a:cubicBezTo>
                    <a:cubicBezTo>
                      <a:pt x="68372" y="103421"/>
                      <a:pt x="70289" y="104697"/>
                      <a:pt x="72206" y="105336"/>
                    </a:cubicBezTo>
                    <a:cubicBezTo>
                      <a:pt x="72845" y="103421"/>
                      <a:pt x="74123" y="101505"/>
                      <a:pt x="74762" y="100229"/>
                    </a:cubicBezTo>
                    <a:cubicBezTo>
                      <a:pt x="76040" y="95760"/>
                      <a:pt x="77957" y="91929"/>
                      <a:pt x="81791" y="88737"/>
                    </a:cubicBezTo>
                    <a:cubicBezTo>
                      <a:pt x="85625" y="86184"/>
                      <a:pt x="90737" y="85545"/>
                      <a:pt x="95210" y="85545"/>
                    </a:cubicBezTo>
                    <a:cubicBezTo>
                      <a:pt x="97127" y="85545"/>
                      <a:pt x="99044" y="85545"/>
                      <a:pt x="100961" y="85545"/>
                    </a:cubicBezTo>
                    <a:cubicBezTo>
                      <a:pt x="100961" y="83630"/>
                      <a:pt x="100322" y="81715"/>
                      <a:pt x="99683" y="80438"/>
                    </a:cubicBezTo>
                    <a:cubicBezTo>
                      <a:pt x="97766" y="75969"/>
                      <a:pt x="97766" y="71501"/>
                      <a:pt x="98405" y="67032"/>
                    </a:cubicBezTo>
                    <a:cubicBezTo>
                      <a:pt x="100322" y="62563"/>
                      <a:pt x="103517" y="59371"/>
                      <a:pt x="107351" y="56817"/>
                    </a:cubicBezTo>
                    <a:cubicBezTo>
                      <a:pt x="108629" y="55541"/>
                      <a:pt x="110546" y="54264"/>
                      <a:pt x="111824" y="52987"/>
                    </a:cubicBezTo>
                    <a:cubicBezTo>
                      <a:pt x="110546" y="51710"/>
                      <a:pt x="109268" y="50433"/>
                      <a:pt x="107990" y="49795"/>
                    </a:cubicBezTo>
                    <a:cubicBezTo>
                      <a:pt x="104795" y="49157"/>
                      <a:pt x="101600" y="45326"/>
                      <a:pt x="99683" y="40857"/>
                    </a:cubicBezTo>
                    <a:close/>
                    <a:moveTo>
                      <a:pt x="79235" y="65755"/>
                    </a:moveTo>
                    <a:cubicBezTo>
                      <a:pt x="76040" y="72139"/>
                      <a:pt x="70928" y="76608"/>
                      <a:pt x="64538" y="78523"/>
                    </a:cubicBezTo>
                    <a:cubicBezTo>
                      <a:pt x="61982" y="79161"/>
                      <a:pt x="59426" y="79800"/>
                      <a:pt x="56870" y="79800"/>
                    </a:cubicBezTo>
                    <a:cubicBezTo>
                      <a:pt x="53036" y="79800"/>
                      <a:pt x="48563" y="78523"/>
                      <a:pt x="45368" y="76608"/>
                    </a:cubicBezTo>
                    <a:cubicBezTo>
                      <a:pt x="32589" y="70224"/>
                      <a:pt x="27477" y="54902"/>
                      <a:pt x="33867" y="42134"/>
                    </a:cubicBezTo>
                    <a:cubicBezTo>
                      <a:pt x="40257" y="29366"/>
                      <a:pt x="55593" y="24259"/>
                      <a:pt x="68372" y="30643"/>
                    </a:cubicBezTo>
                    <a:cubicBezTo>
                      <a:pt x="74762" y="33835"/>
                      <a:pt x="79235" y="39581"/>
                      <a:pt x="81152" y="45965"/>
                    </a:cubicBezTo>
                    <a:cubicBezTo>
                      <a:pt x="83069" y="53625"/>
                      <a:pt x="82430" y="60009"/>
                      <a:pt x="79235" y="65755"/>
                    </a:cubicBezTo>
                    <a:close/>
                  </a:path>
                </a:pathLst>
              </a:custGeom>
              <a:grpFill/>
              <a:ln w="6390" cap="flat">
                <a:noFill/>
                <a:prstDash val="solid"/>
                <a:miter/>
              </a:ln>
            </p:spPr>
            <p:txBody>
              <a:bodyPr rtlCol="0" anchor="ctr"/>
              <a:lstStyle/>
              <a:p>
                <a:endParaRPr lang="en-US">
                  <a:latin typeface="Aptos" panose="020B0004020202020204" pitchFamily="34" charset="0"/>
                </a:endParaRPr>
              </a:p>
            </p:txBody>
          </p:sp>
        </p:grpSp>
        <p:sp>
          <p:nvSpPr>
            <p:cNvPr id="57" name="TextBox 56">
              <a:extLst>
                <a:ext uri="{FF2B5EF4-FFF2-40B4-BE49-F238E27FC236}">
                  <a16:creationId xmlns:a16="http://schemas.microsoft.com/office/drawing/2014/main" id="{AE1F32E7-EE8D-DAD7-8A3A-2B8CFD3FD007}"/>
                </a:ext>
              </a:extLst>
            </p:cNvPr>
            <p:cNvSpPr txBox="1">
              <a:spLocks/>
            </p:cNvSpPr>
            <p:nvPr/>
          </p:nvSpPr>
          <p:spPr>
            <a:xfrm>
              <a:off x="7305262" y="1838248"/>
              <a:ext cx="4214190" cy="938719"/>
            </a:xfrm>
            <a:prstGeom prst="rect">
              <a:avLst/>
            </a:prstGeom>
            <a:noFill/>
          </p:spPr>
          <p:txBody>
            <a:bodyPr wrap="square" lIns="0" tIns="0" rIns="0" bIns="0" rtlCol="0">
              <a:spAutoFit/>
            </a:bodyPr>
            <a:lstStyle/>
            <a:p>
              <a:pPr>
                <a:spcBef>
                  <a:spcPts val="600"/>
                </a:spcBef>
                <a:buSzPct val="100000"/>
              </a:pPr>
              <a:r>
                <a:rPr lang="de-AT" sz="1400" b="1">
                  <a:latin typeface="Aptos" panose="020B0004020202020204" pitchFamily="34" charset="0"/>
                </a:rPr>
                <a:t>Kulturelle Unterschiede </a:t>
              </a:r>
            </a:p>
            <a:p>
              <a:pPr>
                <a:spcBef>
                  <a:spcPts val="600"/>
                </a:spcBef>
                <a:buSzPct val="100000"/>
              </a:pPr>
              <a:r>
                <a:rPr lang="de-AT" sz="1400">
                  <a:solidFill>
                    <a:srgbClr val="313131"/>
                  </a:solidFill>
                  <a:latin typeface="Aptos" panose="020B0004020202020204" pitchFamily="34" charset="0"/>
                </a:rPr>
                <a:t>Globale Standorte bringen unterschiedliche Arbeitsweisen, Werte und Kommunikationsstile mit sich</a:t>
              </a:r>
            </a:p>
          </p:txBody>
        </p:sp>
        <p:sp>
          <p:nvSpPr>
            <p:cNvPr id="58" name="TextBox 57">
              <a:extLst>
                <a:ext uri="{FF2B5EF4-FFF2-40B4-BE49-F238E27FC236}">
                  <a16:creationId xmlns:a16="http://schemas.microsoft.com/office/drawing/2014/main" id="{C37BD254-B4F4-8C9D-52F2-223CE9F185A6}"/>
                </a:ext>
              </a:extLst>
            </p:cNvPr>
            <p:cNvSpPr txBox="1">
              <a:spLocks/>
            </p:cNvSpPr>
            <p:nvPr/>
          </p:nvSpPr>
          <p:spPr>
            <a:xfrm>
              <a:off x="7305262" y="3236357"/>
              <a:ext cx="4214190" cy="723275"/>
            </a:xfrm>
            <a:prstGeom prst="rect">
              <a:avLst/>
            </a:prstGeom>
            <a:noFill/>
          </p:spPr>
          <p:txBody>
            <a:bodyPr wrap="square" lIns="0" tIns="0" rIns="0" bIns="0" rtlCol="0">
              <a:spAutoFit/>
            </a:bodyPr>
            <a:lstStyle/>
            <a:p>
              <a:pPr>
                <a:spcBef>
                  <a:spcPts val="600"/>
                </a:spcBef>
                <a:buSzPct val="100000"/>
              </a:pPr>
              <a:r>
                <a:rPr lang="de-AT" sz="1400" b="1">
                  <a:latin typeface="Aptos" panose="020B0004020202020204" pitchFamily="34" charset="0"/>
                </a:rPr>
                <a:t>Skepsis gegenüber zentralen Vorgaben </a:t>
              </a:r>
            </a:p>
            <a:p>
              <a:pPr>
                <a:spcBef>
                  <a:spcPts val="600"/>
                </a:spcBef>
                <a:buSzPct val="100000"/>
              </a:pPr>
              <a:r>
                <a:rPr lang="de-AT" sz="1400">
                  <a:solidFill>
                    <a:srgbClr val="313131"/>
                  </a:solidFill>
                  <a:latin typeface="Aptos" panose="020B0004020202020204" pitchFamily="34" charset="0"/>
                </a:rPr>
                <a:t>Lokale Teams hinterfragen zentrale Richtlinien häufig – Umsetzung und Akzeptanz variieren stark</a:t>
              </a:r>
            </a:p>
          </p:txBody>
        </p:sp>
        <p:sp>
          <p:nvSpPr>
            <p:cNvPr id="59" name="TextBox 58">
              <a:extLst>
                <a:ext uri="{FF2B5EF4-FFF2-40B4-BE49-F238E27FC236}">
                  <a16:creationId xmlns:a16="http://schemas.microsoft.com/office/drawing/2014/main" id="{ADCE0336-B953-2EEB-5A3B-2483FECF5969}"/>
                </a:ext>
              </a:extLst>
            </p:cNvPr>
            <p:cNvSpPr txBox="1">
              <a:spLocks/>
            </p:cNvSpPr>
            <p:nvPr/>
          </p:nvSpPr>
          <p:spPr>
            <a:xfrm>
              <a:off x="7305262" y="4435686"/>
              <a:ext cx="4214190" cy="938719"/>
            </a:xfrm>
            <a:prstGeom prst="rect">
              <a:avLst/>
            </a:prstGeom>
            <a:noFill/>
          </p:spPr>
          <p:txBody>
            <a:bodyPr wrap="square" lIns="0" tIns="0" rIns="0" bIns="0" rtlCol="0">
              <a:spAutoFit/>
            </a:bodyPr>
            <a:lstStyle/>
            <a:p>
              <a:pPr>
                <a:spcBef>
                  <a:spcPts val="600"/>
                </a:spcBef>
                <a:buSzPct val="100000"/>
              </a:pPr>
              <a:r>
                <a:rPr lang="de-AT" sz="1400" b="1">
                  <a:latin typeface="Aptos" panose="020B0004020202020204" pitchFamily="34" charset="0"/>
                </a:rPr>
                <a:t>Technologische &amp; regulatorische Vielfalt </a:t>
              </a:r>
            </a:p>
            <a:p>
              <a:pPr>
                <a:spcBef>
                  <a:spcPts val="600"/>
                </a:spcBef>
                <a:buSzPct val="100000"/>
              </a:pPr>
              <a:r>
                <a:rPr lang="de-AT" sz="1400">
                  <a:solidFill>
                    <a:srgbClr val="313131"/>
                  </a:solidFill>
                  <a:latin typeface="Aptos" panose="020B0004020202020204" pitchFamily="34" charset="0"/>
                </a:rPr>
                <a:t>Unterschiedliche Automatisierungsgrade, Systeme und lokale Vorschriften erschweren einheitliche Sicherheitsmaßnahmen</a:t>
              </a:r>
            </a:p>
          </p:txBody>
        </p:sp>
      </p:grpSp>
      <p:grpSp>
        <p:nvGrpSpPr>
          <p:cNvPr id="2051" name="Group 2050">
            <a:extLst>
              <a:ext uri="{FF2B5EF4-FFF2-40B4-BE49-F238E27FC236}">
                <a16:creationId xmlns:a16="http://schemas.microsoft.com/office/drawing/2014/main" id="{D9D48832-533D-2387-E1C4-4B6F20A4ACB5}"/>
              </a:ext>
            </a:extLst>
          </p:cNvPr>
          <p:cNvGrpSpPr>
            <a:grpSpLocks/>
          </p:cNvGrpSpPr>
          <p:nvPr/>
        </p:nvGrpSpPr>
        <p:grpSpPr>
          <a:xfrm>
            <a:off x="446074" y="1302130"/>
            <a:ext cx="6084251" cy="253544"/>
            <a:chOff x="219600" y="1778000"/>
            <a:chExt cx="3035300" cy="253544"/>
          </a:xfrm>
        </p:grpSpPr>
        <p:sp>
          <p:nvSpPr>
            <p:cNvPr id="2052" name="TextBox 2051">
              <a:extLst>
                <a:ext uri="{FF2B5EF4-FFF2-40B4-BE49-F238E27FC236}">
                  <a16:creationId xmlns:a16="http://schemas.microsoft.com/office/drawing/2014/main" id="{F9AEC138-1C2A-68B4-1946-7FA24AE87631}"/>
                </a:ext>
              </a:extLst>
            </p:cNvPr>
            <p:cNvSpPr txBox="1">
              <a:spLocks/>
            </p:cNvSpPr>
            <p:nvPr/>
          </p:nvSpPr>
          <p:spPr>
            <a:xfrm>
              <a:off x="219600" y="1778000"/>
              <a:ext cx="303530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600" b="1" i="0" u="none" strike="noStrike" kern="1200" cap="none" spc="0" normalizeH="0" baseline="0" noProof="0">
                  <a:ln>
                    <a:noFill/>
                  </a:ln>
                  <a:solidFill>
                    <a:schemeClr val="accent1">
                      <a:lumMod val="100000"/>
                    </a:schemeClr>
                  </a:solidFill>
                  <a:effectLst/>
                  <a:uLnTx/>
                  <a:uFillTx/>
                  <a:latin typeface="Aptos" panose="020B0004020202020204" pitchFamily="34" charset="0"/>
                  <a:cs typeface="Arial"/>
                </a:rPr>
                <a:t>Standorte, Kulturen und Sicherheitsrisiken weltweit</a:t>
              </a:r>
              <a:endParaRPr kumimoji="0" lang="en-US" sz="1600" b="1" i="0" u="none" strike="noStrike" kern="1200" cap="none" spc="0" normalizeH="0" baseline="0" noProof="0">
                <a:ln>
                  <a:noFill/>
                </a:ln>
                <a:solidFill>
                  <a:schemeClr val="accent1">
                    <a:lumMod val="100000"/>
                  </a:schemeClr>
                </a:solidFill>
                <a:effectLst/>
                <a:uLnTx/>
                <a:uFillTx/>
                <a:latin typeface="Aptos" panose="020B0004020202020204" pitchFamily="34" charset="0"/>
                <a:cs typeface="Arial"/>
              </a:endParaRPr>
            </a:p>
          </p:txBody>
        </p:sp>
        <p:cxnSp>
          <p:nvCxnSpPr>
            <p:cNvPr id="2053" name="Straight Connector 2052">
              <a:extLst>
                <a:ext uri="{FF2B5EF4-FFF2-40B4-BE49-F238E27FC236}">
                  <a16:creationId xmlns:a16="http://schemas.microsoft.com/office/drawing/2014/main" id="{98D6DD57-56A0-199A-4D39-983E5CBB775D}"/>
                </a:ext>
              </a:extLst>
            </p:cNvPr>
            <p:cNvCxnSpPr>
              <a:cxnSpLocks/>
            </p:cNvCxnSpPr>
            <p:nvPr/>
          </p:nvCxnSpPr>
          <p:spPr>
            <a:xfrm>
              <a:off x="219600" y="2031544"/>
              <a:ext cx="3035300" cy="0"/>
            </a:xfrm>
            <a:prstGeom prst="line">
              <a:avLst/>
            </a:prstGeom>
            <a:ln w="28575"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54" name="Group 2053">
            <a:extLst>
              <a:ext uri="{FF2B5EF4-FFF2-40B4-BE49-F238E27FC236}">
                <a16:creationId xmlns:a16="http://schemas.microsoft.com/office/drawing/2014/main" id="{DA124BA5-149A-06AF-B7C4-6ECE5F74E69C}"/>
              </a:ext>
            </a:extLst>
          </p:cNvPr>
          <p:cNvGrpSpPr>
            <a:grpSpLocks/>
          </p:cNvGrpSpPr>
          <p:nvPr/>
        </p:nvGrpSpPr>
        <p:grpSpPr>
          <a:xfrm>
            <a:off x="6992377" y="1302131"/>
            <a:ext cx="4753550" cy="253543"/>
            <a:chOff x="219599" y="1778001"/>
            <a:chExt cx="2420905" cy="253543"/>
          </a:xfrm>
        </p:grpSpPr>
        <p:sp>
          <p:nvSpPr>
            <p:cNvPr id="2055" name="TextBox 2054">
              <a:extLst>
                <a:ext uri="{FF2B5EF4-FFF2-40B4-BE49-F238E27FC236}">
                  <a16:creationId xmlns:a16="http://schemas.microsoft.com/office/drawing/2014/main" id="{7037A04E-9C69-50B9-A67D-6AD567D8B049}"/>
                </a:ext>
              </a:extLst>
            </p:cNvPr>
            <p:cNvSpPr txBox="1">
              <a:spLocks/>
            </p:cNvSpPr>
            <p:nvPr/>
          </p:nvSpPr>
          <p:spPr>
            <a:xfrm>
              <a:off x="219599" y="1778001"/>
              <a:ext cx="2420904" cy="2535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chemeClr val="accent1">
                      <a:lumMod val="100000"/>
                    </a:schemeClr>
                  </a:solidFill>
                  <a:effectLst/>
                  <a:uLnTx/>
                  <a:uFillTx/>
                  <a:latin typeface="Aptos" panose="020B0004020202020204" pitchFamily="34" charset="0"/>
                  <a:cs typeface="Arial"/>
                </a:rPr>
                <a:t>Herausforderungen</a:t>
              </a:r>
              <a:r>
                <a:rPr kumimoji="0" lang="en-US" sz="1600" b="1" i="0" u="none" strike="noStrike" kern="1200" cap="none" spc="0" normalizeH="0" baseline="0" noProof="0">
                  <a:ln>
                    <a:noFill/>
                  </a:ln>
                  <a:solidFill>
                    <a:schemeClr val="accent1">
                      <a:lumMod val="100000"/>
                    </a:schemeClr>
                  </a:solidFill>
                  <a:effectLst/>
                  <a:uLnTx/>
                  <a:uFillTx/>
                  <a:latin typeface="Aptos" panose="020B0004020202020204" pitchFamily="34" charset="0"/>
                  <a:cs typeface="Arial"/>
                </a:rPr>
                <a:t> der </a:t>
              </a:r>
              <a:r>
                <a:rPr kumimoji="0" lang="en-US" sz="1600" b="1" i="0" u="none" strike="noStrike" kern="1200" cap="none" spc="0" normalizeH="0" baseline="0" noProof="0" err="1">
                  <a:ln>
                    <a:noFill/>
                  </a:ln>
                  <a:solidFill>
                    <a:schemeClr val="accent1">
                      <a:lumMod val="100000"/>
                    </a:schemeClr>
                  </a:solidFill>
                  <a:effectLst/>
                  <a:uLnTx/>
                  <a:uFillTx/>
                  <a:latin typeface="Aptos" panose="020B0004020202020204" pitchFamily="34" charset="0"/>
                  <a:cs typeface="Arial"/>
                </a:rPr>
                <a:t>globalen</a:t>
              </a:r>
              <a:r>
                <a:rPr kumimoji="0" lang="en-US" sz="1600" b="1" i="0" u="none" strike="noStrike" kern="1200" cap="none" spc="0" normalizeH="0" baseline="0" noProof="0">
                  <a:ln>
                    <a:noFill/>
                  </a:ln>
                  <a:solidFill>
                    <a:schemeClr val="accent1">
                      <a:lumMod val="100000"/>
                    </a:schemeClr>
                  </a:solidFill>
                  <a:effectLst/>
                  <a:uLnTx/>
                  <a:uFillTx/>
                  <a:latin typeface="Aptos" panose="020B0004020202020204" pitchFamily="34" charset="0"/>
                  <a:cs typeface="Arial"/>
                </a:rPr>
                <a:t> </a:t>
              </a:r>
              <a:r>
                <a:rPr kumimoji="0" lang="en-US" sz="1600" b="1" i="0" u="none" strike="noStrike" kern="1200" cap="none" spc="0" normalizeH="0" baseline="0" noProof="0" err="1">
                  <a:ln>
                    <a:noFill/>
                  </a:ln>
                  <a:solidFill>
                    <a:schemeClr val="accent1">
                      <a:lumMod val="100000"/>
                    </a:schemeClr>
                  </a:solidFill>
                  <a:effectLst/>
                  <a:uLnTx/>
                  <a:uFillTx/>
                  <a:latin typeface="Aptos" panose="020B0004020202020204" pitchFamily="34" charset="0"/>
                  <a:cs typeface="Arial"/>
                </a:rPr>
                <a:t>Vielfalt</a:t>
              </a:r>
              <a:endParaRPr kumimoji="0" lang="en-US" sz="1600" b="1" i="0" u="none" strike="noStrike" kern="1200" cap="none" spc="0" normalizeH="0" baseline="0" noProof="0">
                <a:ln>
                  <a:noFill/>
                </a:ln>
                <a:solidFill>
                  <a:schemeClr val="accent1">
                    <a:lumMod val="100000"/>
                  </a:schemeClr>
                </a:solidFill>
                <a:effectLst/>
                <a:uLnTx/>
                <a:uFillTx/>
                <a:latin typeface="Aptos" panose="020B0004020202020204" pitchFamily="34" charset="0"/>
                <a:cs typeface="Arial"/>
              </a:endParaRPr>
            </a:p>
          </p:txBody>
        </p:sp>
        <p:cxnSp>
          <p:nvCxnSpPr>
            <p:cNvPr id="2056" name="Straight Connector 2055">
              <a:extLst>
                <a:ext uri="{FF2B5EF4-FFF2-40B4-BE49-F238E27FC236}">
                  <a16:creationId xmlns:a16="http://schemas.microsoft.com/office/drawing/2014/main" id="{1A21D431-64A9-96AB-2EB7-48CA090A2D99}"/>
                </a:ext>
              </a:extLst>
            </p:cNvPr>
            <p:cNvCxnSpPr>
              <a:cxnSpLocks/>
            </p:cNvCxnSpPr>
            <p:nvPr/>
          </p:nvCxnSpPr>
          <p:spPr>
            <a:xfrm>
              <a:off x="219600" y="2031544"/>
              <a:ext cx="2420904" cy="0"/>
            </a:xfrm>
            <a:prstGeom prst="line">
              <a:avLst/>
            </a:prstGeom>
            <a:ln w="28575"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73EF321-5942-E37A-2691-844F84FB3520}"/>
              </a:ext>
            </a:extLst>
          </p:cNvPr>
          <p:cNvGrpSpPr>
            <a:grpSpLocks/>
          </p:cNvGrpSpPr>
          <p:nvPr/>
        </p:nvGrpSpPr>
        <p:grpSpPr>
          <a:xfrm>
            <a:off x="446074" y="2047911"/>
            <a:ext cx="6084251" cy="3427720"/>
            <a:chOff x="327992" y="2197263"/>
            <a:chExt cx="6084251" cy="3427720"/>
          </a:xfrm>
        </p:grpSpPr>
        <p:sp>
          <p:nvSpPr>
            <p:cNvPr id="3" name="Oval 2">
              <a:extLst>
                <a:ext uri="{FF2B5EF4-FFF2-40B4-BE49-F238E27FC236}">
                  <a16:creationId xmlns:a16="http://schemas.microsoft.com/office/drawing/2014/main" id="{C515D6A6-DEE1-1EE2-C4FE-29D73AD19AB8}"/>
                </a:ext>
              </a:extLst>
            </p:cNvPr>
            <p:cNvSpPr>
              <a:spLocks/>
            </p:cNvSpPr>
            <p:nvPr/>
          </p:nvSpPr>
          <p:spPr bwMode="gray">
            <a:xfrm>
              <a:off x="3117963" y="3031050"/>
              <a:ext cx="362313" cy="36197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600" b="1">
                <a:solidFill>
                  <a:schemeClr val="bg1"/>
                </a:solidFill>
                <a:latin typeface="Aptos" panose="020B0004020202020204" pitchFamily="34" charset="0"/>
              </a:endParaRPr>
            </a:p>
          </p:txBody>
        </p:sp>
        <p:sp>
          <p:nvSpPr>
            <p:cNvPr id="5" name="Oval 4">
              <a:extLst>
                <a:ext uri="{FF2B5EF4-FFF2-40B4-BE49-F238E27FC236}">
                  <a16:creationId xmlns:a16="http://schemas.microsoft.com/office/drawing/2014/main" id="{2DA0BFE8-5609-5A34-31E5-527B46AECBF6}"/>
                </a:ext>
              </a:extLst>
            </p:cNvPr>
            <p:cNvSpPr>
              <a:spLocks/>
            </p:cNvSpPr>
            <p:nvPr/>
          </p:nvSpPr>
          <p:spPr bwMode="gray">
            <a:xfrm>
              <a:off x="1700207" y="4247853"/>
              <a:ext cx="362313" cy="36197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600" b="1">
                <a:solidFill>
                  <a:schemeClr val="bg1"/>
                </a:solidFill>
                <a:latin typeface="Aptos" panose="020B0004020202020204" pitchFamily="34" charset="0"/>
              </a:endParaRPr>
            </a:p>
          </p:txBody>
        </p:sp>
        <p:grpSp>
          <p:nvGrpSpPr>
            <p:cNvPr id="6" name="Group 5">
              <a:extLst>
                <a:ext uri="{FF2B5EF4-FFF2-40B4-BE49-F238E27FC236}">
                  <a16:creationId xmlns:a16="http://schemas.microsoft.com/office/drawing/2014/main" id="{A7314297-1A1C-0998-387D-3226EF81A753}"/>
                </a:ext>
              </a:extLst>
            </p:cNvPr>
            <p:cNvGrpSpPr>
              <a:grpSpLocks/>
            </p:cNvGrpSpPr>
            <p:nvPr/>
          </p:nvGrpSpPr>
          <p:grpSpPr>
            <a:xfrm>
              <a:off x="327992" y="2197263"/>
              <a:ext cx="6084251" cy="3427720"/>
              <a:chOff x="3655171" y="1490176"/>
              <a:chExt cx="8310008" cy="4681665"/>
            </a:xfrm>
          </p:grpSpPr>
          <p:cxnSp>
            <p:nvCxnSpPr>
              <p:cNvPr id="19" name="Straight Connector 18">
                <a:extLst>
                  <a:ext uri="{FF2B5EF4-FFF2-40B4-BE49-F238E27FC236}">
                    <a16:creationId xmlns:a16="http://schemas.microsoft.com/office/drawing/2014/main" id="{2E42662A-1638-1CD8-C8DC-528FC1ABAC5F}"/>
                  </a:ext>
                </a:extLst>
              </p:cNvPr>
              <p:cNvCxnSpPr>
                <a:cxnSpLocks/>
                <a:stCxn id="3177" idx="1"/>
              </p:cNvCxnSpPr>
              <p:nvPr/>
            </p:nvCxnSpPr>
            <p:spPr>
              <a:xfrm flipH="1">
                <a:off x="7949509" y="2703877"/>
                <a:ext cx="1083824" cy="331386"/>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C371E13-BA00-D47E-96EA-3F232554676C}"/>
                  </a:ext>
                </a:extLst>
              </p:cNvPr>
              <p:cNvGrpSpPr>
                <a:grpSpLocks/>
              </p:cNvGrpSpPr>
              <p:nvPr/>
            </p:nvGrpSpPr>
            <p:grpSpPr>
              <a:xfrm>
                <a:off x="3664243" y="1723919"/>
                <a:ext cx="8300936" cy="4436926"/>
                <a:chOff x="393700" y="1781243"/>
                <a:chExt cx="8280400" cy="4425950"/>
              </a:xfrm>
              <a:noFill/>
            </p:grpSpPr>
            <p:sp>
              <p:nvSpPr>
                <p:cNvPr id="4622" name="Freeform 13">
                  <a:extLst>
                    <a:ext uri="{FF2B5EF4-FFF2-40B4-BE49-F238E27FC236}">
                      <a16:creationId xmlns:a16="http://schemas.microsoft.com/office/drawing/2014/main" id="{000DC1BE-769F-39DC-61E1-907F57C730E4}"/>
                    </a:ext>
                  </a:extLst>
                </p:cNvPr>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3" name="Freeform 14">
                  <a:extLst>
                    <a:ext uri="{FF2B5EF4-FFF2-40B4-BE49-F238E27FC236}">
                      <a16:creationId xmlns:a16="http://schemas.microsoft.com/office/drawing/2014/main" id="{987B1767-6C2B-FD41-A0D6-46ADA1D10216}"/>
                    </a:ext>
                  </a:extLst>
                </p:cNvPr>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4" name="Freeform 15">
                  <a:extLst>
                    <a:ext uri="{FF2B5EF4-FFF2-40B4-BE49-F238E27FC236}">
                      <a16:creationId xmlns:a16="http://schemas.microsoft.com/office/drawing/2014/main" id="{62F4ADA5-767C-545C-F018-3261045684B3}"/>
                    </a:ext>
                  </a:extLst>
                </p:cNvPr>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5" name="Freeform 16">
                  <a:extLst>
                    <a:ext uri="{FF2B5EF4-FFF2-40B4-BE49-F238E27FC236}">
                      <a16:creationId xmlns:a16="http://schemas.microsoft.com/office/drawing/2014/main" id="{3957F85B-4154-ACE0-A9A4-17A2E7A0378E}"/>
                    </a:ext>
                  </a:extLst>
                </p:cNvPr>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6" name="Freeform 17">
                  <a:extLst>
                    <a:ext uri="{FF2B5EF4-FFF2-40B4-BE49-F238E27FC236}">
                      <a16:creationId xmlns:a16="http://schemas.microsoft.com/office/drawing/2014/main" id="{02A44F92-67E6-7586-05DD-40F14B91CF81}"/>
                    </a:ext>
                  </a:extLst>
                </p:cNvPr>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7" name="Freeform 18">
                  <a:extLst>
                    <a:ext uri="{FF2B5EF4-FFF2-40B4-BE49-F238E27FC236}">
                      <a16:creationId xmlns:a16="http://schemas.microsoft.com/office/drawing/2014/main" id="{30FF1DE1-AF02-4684-8482-A1FE3D6A2485}"/>
                    </a:ext>
                  </a:extLst>
                </p:cNvPr>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8" name="Freeform 19">
                  <a:extLst>
                    <a:ext uri="{FF2B5EF4-FFF2-40B4-BE49-F238E27FC236}">
                      <a16:creationId xmlns:a16="http://schemas.microsoft.com/office/drawing/2014/main" id="{5281B267-4EFC-7D20-EB26-035A11AD214B}"/>
                    </a:ext>
                  </a:extLst>
                </p:cNvPr>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9" name="Freeform 20">
                  <a:extLst>
                    <a:ext uri="{FF2B5EF4-FFF2-40B4-BE49-F238E27FC236}">
                      <a16:creationId xmlns:a16="http://schemas.microsoft.com/office/drawing/2014/main" id="{C0F45B1B-99F0-55B8-9C29-1C40A036CBFA}"/>
                    </a:ext>
                  </a:extLst>
                </p:cNvPr>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0" name="Freeform 21">
                  <a:extLst>
                    <a:ext uri="{FF2B5EF4-FFF2-40B4-BE49-F238E27FC236}">
                      <a16:creationId xmlns:a16="http://schemas.microsoft.com/office/drawing/2014/main" id="{CCDAEB87-9E69-82B6-B96E-62128D1C3CF9}"/>
                    </a:ext>
                  </a:extLst>
                </p:cNvPr>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1" name="Freeform 22">
                  <a:extLst>
                    <a:ext uri="{FF2B5EF4-FFF2-40B4-BE49-F238E27FC236}">
                      <a16:creationId xmlns:a16="http://schemas.microsoft.com/office/drawing/2014/main" id="{00AF6BFC-3A24-C34B-909E-A739971B4DB9}"/>
                    </a:ext>
                  </a:extLst>
                </p:cNvPr>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2" name="Freeform 23">
                  <a:extLst>
                    <a:ext uri="{FF2B5EF4-FFF2-40B4-BE49-F238E27FC236}">
                      <a16:creationId xmlns:a16="http://schemas.microsoft.com/office/drawing/2014/main" id="{CCCB5750-F98C-19E8-E4F4-E3EE1B1274B0}"/>
                    </a:ext>
                  </a:extLst>
                </p:cNvPr>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3" name="Freeform 24">
                  <a:extLst>
                    <a:ext uri="{FF2B5EF4-FFF2-40B4-BE49-F238E27FC236}">
                      <a16:creationId xmlns:a16="http://schemas.microsoft.com/office/drawing/2014/main" id="{EADD8BAB-DD21-AE5B-9FD6-0E6251D32FEA}"/>
                    </a:ext>
                  </a:extLst>
                </p:cNvPr>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4" name="Freeform 25">
                  <a:extLst>
                    <a:ext uri="{FF2B5EF4-FFF2-40B4-BE49-F238E27FC236}">
                      <a16:creationId xmlns:a16="http://schemas.microsoft.com/office/drawing/2014/main" id="{C3D61557-27B2-F568-A79A-E0ED272B9B72}"/>
                    </a:ext>
                  </a:extLst>
                </p:cNvPr>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5" name="Freeform 26">
                  <a:extLst>
                    <a:ext uri="{FF2B5EF4-FFF2-40B4-BE49-F238E27FC236}">
                      <a16:creationId xmlns:a16="http://schemas.microsoft.com/office/drawing/2014/main" id="{7F71631F-23BD-63D5-5263-0E195FA77514}"/>
                    </a:ext>
                  </a:extLst>
                </p:cNvPr>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6" name="Freeform 27">
                  <a:extLst>
                    <a:ext uri="{FF2B5EF4-FFF2-40B4-BE49-F238E27FC236}">
                      <a16:creationId xmlns:a16="http://schemas.microsoft.com/office/drawing/2014/main" id="{9E046FB2-B13F-A15A-7053-AAF95194DA82}"/>
                    </a:ext>
                  </a:extLst>
                </p:cNvPr>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7" name="Freeform 28">
                  <a:extLst>
                    <a:ext uri="{FF2B5EF4-FFF2-40B4-BE49-F238E27FC236}">
                      <a16:creationId xmlns:a16="http://schemas.microsoft.com/office/drawing/2014/main" id="{AE4D3A98-D96C-18B0-C003-7FC7D2C40FFA}"/>
                    </a:ext>
                  </a:extLst>
                </p:cNvPr>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8" name="Freeform 29">
                  <a:extLst>
                    <a:ext uri="{FF2B5EF4-FFF2-40B4-BE49-F238E27FC236}">
                      <a16:creationId xmlns:a16="http://schemas.microsoft.com/office/drawing/2014/main" id="{D6E1A99C-2009-24B7-8D7A-D8086D4EFAAA}"/>
                    </a:ext>
                  </a:extLst>
                </p:cNvPr>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39" name="Freeform 30">
                  <a:extLst>
                    <a:ext uri="{FF2B5EF4-FFF2-40B4-BE49-F238E27FC236}">
                      <a16:creationId xmlns:a16="http://schemas.microsoft.com/office/drawing/2014/main" id="{82A2350B-4E69-AB57-412F-876ACF9A8893}"/>
                    </a:ext>
                  </a:extLst>
                </p:cNvPr>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0" name="Freeform 31">
                  <a:extLst>
                    <a:ext uri="{FF2B5EF4-FFF2-40B4-BE49-F238E27FC236}">
                      <a16:creationId xmlns:a16="http://schemas.microsoft.com/office/drawing/2014/main" id="{4326739A-F15E-CDCD-9DF0-EAEA9E57C759}"/>
                    </a:ext>
                  </a:extLst>
                </p:cNvPr>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1" name="Freeform 32">
                  <a:extLst>
                    <a:ext uri="{FF2B5EF4-FFF2-40B4-BE49-F238E27FC236}">
                      <a16:creationId xmlns:a16="http://schemas.microsoft.com/office/drawing/2014/main" id="{3F696ED2-8115-1B7F-76E5-9C3F40C55614}"/>
                    </a:ext>
                  </a:extLst>
                </p:cNvPr>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2" name="Freeform 33">
                  <a:extLst>
                    <a:ext uri="{FF2B5EF4-FFF2-40B4-BE49-F238E27FC236}">
                      <a16:creationId xmlns:a16="http://schemas.microsoft.com/office/drawing/2014/main" id="{84FEE9D7-B856-64B4-7281-085768D92CA4}"/>
                    </a:ext>
                  </a:extLst>
                </p:cNvPr>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3" name="Freeform 34">
                  <a:extLst>
                    <a:ext uri="{FF2B5EF4-FFF2-40B4-BE49-F238E27FC236}">
                      <a16:creationId xmlns:a16="http://schemas.microsoft.com/office/drawing/2014/main" id="{227F3E1F-C55D-9C4B-5D9C-21FF2D137575}"/>
                    </a:ext>
                  </a:extLst>
                </p:cNvPr>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4" name="Freeform 35">
                  <a:extLst>
                    <a:ext uri="{FF2B5EF4-FFF2-40B4-BE49-F238E27FC236}">
                      <a16:creationId xmlns:a16="http://schemas.microsoft.com/office/drawing/2014/main" id="{7915EDE6-6F3A-415A-EFBC-6C5F2A1EA7A5}"/>
                    </a:ext>
                  </a:extLst>
                </p:cNvPr>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5" name="Freeform 36">
                  <a:extLst>
                    <a:ext uri="{FF2B5EF4-FFF2-40B4-BE49-F238E27FC236}">
                      <a16:creationId xmlns:a16="http://schemas.microsoft.com/office/drawing/2014/main" id="{05C21639-2F7E-B4F1-B716-752D1527C046}"/>
                    </a:ext>
                  </a:extLst>
                </p:cNvPr>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6" name="Freeform 37">
                  <a:extLst>
                    <a:ext uri="{FF2B5EF4-FFF2-40B4-BE49-F238E27FC236}">
                      <a16:creationId xmlns:a16="http://schemas.microsoft.com/office/drawing/2014/main" id="{E73D17B9-052D-B18A-98D2-90B1BA4E0AD1}"/>
                    </a:ext>
                  </a:extLst>
                </p:cNvPr>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7" name="Freeform 38">
                  <a:extLst>
                    <a:ext uri="{FF2B5EF4-FFF2-40B4-BE49-F238E27FC236}">
                      <a16:creationId xmlns:a16="http://schemas.microsoft.com/office/drawing/2014/main" id="{2B2418BC-BFFB-4273-A02B-92C83ABDCF5B}"/>
                    </a:ext>
                  </a:extLst>
                </p:cNvPr>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8" name="Freeform 39">
                  <a:extLst>
                    <a:ext uri="{FF2B5EF4-FFF2-40B4-BE49-F238E27FC236}">
                      <a16:creationId xmlns:a16="http://schemas.microsoft.com/office/drawing/2014/main" id="{73139AC3-B34C-A809-1E33-D8840AE598B1}"/>
                    </a:ext>
                  </a:extLst>
                </p:cNvPr>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49" name="Freeform 40">
                  <a:extLst>
                    <a:ext uri="{FF2B5EF4-FFF2-40B4-BE49-F238E27FC236}">
                      <a16:creationId xmlns:a16="http://schemas.microsoft.com/office/drawing/2014/main" id="{8B79584D-709D-6EB5-D233-05C22F986705}"/>
                    </a:ext>
                  </a:extLst>
                </p:cNvPr>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0" name="Freeform 41">
                  <a:extLst>
                    <a:ext uri="{FF2B5EF4-FFF2-40B4-BE49-F238E27FC236}">
                      <a16:creationId xmlns:a16="http://schemas.microsoft.com/office/drawing/2014/main" id="{E5A9258D-F3D6-D3F9-3AEF-8CF23128CEBB}"/>
                    </a:ext>
                  </a:extLst>
                </p:cNvPr>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1" name="Freeform 42">
                  <a:extLst>
                    <a:ext uri="{FF2B5EF4-FFF2-40B4-BE49-F238E27FC236}">
                      <a16:creationId xmlns:a16="http://schemas.microsoft.com/office/drawing/2014/main" id="{4EBA594A-005E-E88E-42FE-4D3EBFD6BA43}"/>
                    </a:ext>
                  </a:extLst>
                </p:cNvPr>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2" name="Freeform 43">
                  <a:extLst>
                    <a:ext uri="{FF2B5EF4-FFF2-40B4-BE49-F238E27FC236}">
                      <a16:creationId xmlns:a16="http://schemas.microsoft.com/office/drawing/2014/main" id="{94982EFF-F903-B499-0287-0DF3E2AB0F8F}"/>
                    </a:ext>
                  </a:extLst>
                </p:cNvPr>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3" name="Freeform 44">
                  <a:extLst>
                    <a:ext uri="{FF2B5EF4-FFF2-40B4-BE49-F238E27FC236}">
                      <a16:creationId xmlns:a16="http://schemas.microsoft.com/office/drawing/2014/main" id="{BF24AD2C-26DA-61E7-62B7-A9C8444F303D}"/>
                    </a:ext>
                  </a:extLst>
                </p:cNvPr>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4" name="Freeform 45">
                  <a:extLst>
                    <a:ext uri="{FF2B5EF4-FFF2-40B4-BE49-F238E27FC236}">
                      <a16:creationId xmlns:a16="http://schemas.microsoft.com/office/drawing/2014/main" id="{DDCB7C61-6EF7-BB2A-8D47-9E065AC5E88E}"/>
                    </a:ext>
                  </a:extLst>
                </p:cNvPr>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5" name="Freeform 46">
                  <a:extLst>
                    <a:ext uri="{FF2B5EF4-FFF2-40B4-BE49-F238E27FC236}">
                      <a16:creationId xmlns:a16="http://schemas.microsoft.com/office/drawing/2014/main" id="{5671681C-42F7-3143-F5C1-C94CE4E481D7}"/>
                    </a:ext>
                  </a:extLst>
                </p:cNvPr>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6" name="Freeform 47">
                  <a:extLst>
                    <a:ext uri="{FF2B5EF4-FFF2-40B4-BE49-F238E27FC236}">
                      <a16:creationId xmlns:a16="http://schemas.microsoft.com/office/drawing/2014/main" id="{F95320FF-1B98-A299-188D-411E8C10B587}"/>
                    </a:ext>
                  </a:extLst>
                </p:cNvPr>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7" name="Freeform 48">
                  <a:extLst>
                    <a:ext uri="{FF2B5EF4-FFF2-40B4-BE49-F238E27FC236}">
                      <a16:creationId xmlns:a16="http://schemas.microsoft.com/office/drawing/2014/main" id="{F1D2820C-62B8-5FE9-0DD3-ECCC082314FC}"/>
                    </a:ext>
                  </a:extLst>
                </p:cNvPr>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8" name="Freeform 49">
                  <a:extLst>
                    <a:ext uri="{FF2B5EF4-FFF2-40B4-BE49-F238E27FC236}">
                      <a16:creationId xmlns:a16="http://schemas.microsoft.com/office/drawing/2014/main" id="{2B052CB8-B8DB-5B69-496D-9876AD885999}"/>
                    </a:ext>
                  </a:extLst>
                </p:cNvPr>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59" name="Freeform 50">
                  <a:extLst>
                    <a:ext uri="{FF2B5EF4-FFF2-40B4-BE49-F238E27FC236}">
                      <a16:creationId xmlns:a16="http://schemas.microsoft.com/office/drawing/2014/main" id="{B3896365-5A62-1424-5BC4-6AE045F9D400}"/>
                    </a:ext>
                  </a:extLst>
                </p:cNvPr>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0" name="Freeform 51">
                  <a:extLst>
                    <a:ext uri="{FF2B5EF4-FFF2-40B4-BE49-F238E27FC236}">
                      <a16:creationId xmlns:a16="http://schemas.microsoft.com/office/drawing/2014/main" id="{0E4339A2-D960-CA86-BF1A-1B7B44B81291}"/>
                    </a:ext>
                  </a:extLst>
                </p:cNvPr>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1" name="Freeform 52">
                  <a:extLst>
                    <a:ext uri="{FF2B5EF4-FFF2-40B4-BE49-F238E27FC236}">
                      <a16:creationId xmlns:a16="http://schemas.microsoft.com/office/drawing/2014/main" id="{F707859E-A417-6922-EB42-F5B6CCE03AC6}"/>
                    </a:ext>
                  </a:extLst>
                </p:cNvPr>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2" name="Freeform 53">
                  <a:extLst>
                    <a:ext uri="{FF2B5EF4-FFF2-40B4-BE49-F238E27FC236}">
                      <a16:creationId xmlns:a16="http://schemas.microsoft.com/office/drawing/2014/main" id="{49F164CB-9ACD-999F-44C5-66D043C12C84}"/>
                    </a:ext>
                  </a:extLst>
                </p:cNvPr>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3" name="Freeform 54">
                  <a:extLst>
                    <a:ext uri="{FF2B5EF4-FFF2-40B4-BE49-F238E27FC236}">
                      <a16:creationId xmlns:a16="http://schemas.microsoft.com/office/drawing/2014/main" id="{B2F1136B-9721-A4B0-D223-EBD0C66A5D3C}"/>
                    </a:ext>
                  </a:extLst>
                </p:cNvPr>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4" name="Freeform 55">
                  <a:extLst>
                    <a:ext uri="{FF2B5EF4-FFF2-40B4-BE49-F238E27FC236}">
                      <a16:creationId xmlns:a16="http://schemas.microsoft.com/office/drawing/2014/main" id="{D7F4952D-2A81-87D6-2AFA-C6F236F2B1D3}"/>
                    </a:ext>
                  </a:extLst>
                </p:cNvPr>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5" name="Freeform 56">
                  <a:extLst>
                    <a:ext uri="{FF2B5EF4-FFF2-40B4-BE49-F238E27FC236}">
                      <a16:creationId xmlns:a16="http://schemas.microsoft.com/office/drawing/2014/main" id="{BBA08435-63F3-0748-56A6-8CCEABF00DB4}"/>
                    </a:ext>
                  </a:extLst>
                </p:cNvPr>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6" name="Freeform 57">
                  <a:extLst>
                    <a:ext uri="{FF2B5EF4-FFF2-40B4-BE49-F238E27FC236}">
                      <a16:creationId xmlns:a16="http://schemas.microsoft.com/office/drawing/2014/main" id="{C16E7ABA-0860-ED1B-5897-2655D7EA3558}"/>
                    </a:ext>
                  </a:extLst>
                </p:cNvPr>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7" name="Freeform 58">
                  <a:extLst>
                    <a:ext uri="{FF2B5EF4-FFF2-40B4-BE49-F238E27FC236}">
                      <a16:creationId xmlns:a16="http://schemas.microsoft.com/office/drawing/2014/main" id="{88B4C09B-E851-41B0-A808-DA8232D239E3}"/>
                    </a:ext>
                  </a:extLst>
                </p:cNvPr>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8" name="Freeform 59">
                  <a:extLst>
                    <a:ext uri="{FF2B5EF4-FFF2-40B4-BE49-F238E27FC236}">
                      <a16:creationId xmlns:a16="http://schemas.microsoft.com/office/drawing/2014/main" id="{60E4D855-9D46-6413-2504-F7A169A5F1B7}"/>
                    </a:ext>
                  </a:extLst>
                </p:cNvPr>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69" name="Freeform 60">
                  <a:extLst>
                    <a:ext uri="{FF2B5EF4-FFF2-40B4-BE49-F238E27FC236}">
                      <a16:creationId xmlns:a16="http://schemas.microsoft.com/office/drawing/2014/main" id="{27D72733-52E6-EAC3-1B7B-EEBDE4B72052}"/>
                    </a:ext>
                  </a:extLst>
                </p:cNvPr>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70" name="Freeform 61">
                  <a:extLst>
                    <a:ext uri="{FF2B5EF4-FFF2-40B4-BE49-F238E27FC236}">
                      <a16:creationId xmlns:a16="http://schemas.microsoft.com/office/drawing/2014/main" id="{0BCDE3AA-FD81-B9CB-326E-0FBB32E3D062}"/>
                    </a:ext>
                  </a:extLst>
                </p:cNvPr>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71" name="Freeform 62">
                  <a:extLst>
                    <a:ext uri="{FF2B5EF4-FFF2-40B4-BE49-F238E27FC236}">
                      <a16:creationId xmlns:a16="http://schemas.microsoft.com/office/drawing/2014/main" id="{AD8D1DD5-3352-E505-1082-5C2EB823D324}"/>
                    </a:ext>
                  </a:extLst>
                </p:cNvPr>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3" name="Freeform 63">
                  <a:extLst>
                    <a:ext uri="{FF2B5EF4-FFF2-40B4-BE49-F238E27FC236}">
                      <a16:creationId xmlns:a16="http://schemas.microsoft.com/office/drawing/2014/main" id="{016DE5E1-726B-FF87-3DA7-109EE4D49E64}"/>
                    </a:ext>
                  </a:extLst>
                </p:cNvPr>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4" name="Freeform 64">
                  <a:extLst>
                    <a:ext uri="{FF2B5EF4-FFF2-40B4-BE49-F238E27FC236}">
                      <a16:creationId xmlns:a16="http://schemas.microsoft.com/office/drawing/2014/main" id="{D56BF284-16A4-F817-F92F-087A044556B3}"/>
                    </a:ext>
                  </a:extLst>
                </p:cNvPr>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5" name="Freeform 65">
                  <a:extLst>
                    <a:ext uri="{FF2B5EF4-FFF2-40B4-BE49-F238E27FC236}">
                      <a16:creationId xmlns:a16="http://schemas.microsoft.com/office/drawing/2014/main" id="{EA5B8B7A-1388-17E1-B734-C909A7341FFF}"/>
                    </a:ext>
                  </a:extLst>
                </p:cNvPr>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6" name="Freeform 66">
                  <a:extLst>
                    <a:ext uri="{FF2B5EF4-FFF2-40B4-BE49-F238E27FC236}">
                      <a16:creationId xmlns:a16="http://schemas.microsoft.com/office/drawing/2014/main" id="{89F9F51C-E4C6-B311-9363-00D2D6A3AD0B}"/>
                    </a:ext>
                  </a:extLst>
                </p:cNvPr>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7" name="Freeform 67">
                  <a:extLst>
                    <a:ext uri="{FF2B5EF4-FFF2-40B4-BE49-F238E27FC236}">
                      <a16:creationId xmlns:a16="http://schemas.microsoft.com/office/drawing/2014/main" id="{62220999-09C8-1388-1306-B17BEEF12AF2}"/>
                    </a:ext>
                  </a:extLst>
                </p:cNvPr>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8" name="Freeform 68">
                  <a:extLst>
                    <a:ext uri="{FF2B5EF4-FFF2-40B4-BE49-F238E27FC236}">
                      <a16:creationId xmlns:a16="http://schemas.microsoft.com/office/drawing/2014/main" id="{6105F2D9-89E4-1BD3-AEAC-DD0878DBAA27}"/>
                    </a:ext>
                  </a:extLst>
                </p:cNvPr>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89" name="Freeform 69">
                  <a:extLst>
                    <a:ext uri="{FF2B5EF4-FFF2-40B4-BE49-F238E27FC236}">
                      <a16:creationId xmlns:a16="http://schemas.microsoft.com/office/drawing/2014/main" id="{74E660FE-4C79-CC26-0037-AE5F51C6AB78}"/>
                    </a:ext>
                  </a:extLst>
                </p:cNvPr>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0" name="Freeform 70">
                  <a:extLst>
                    <a:ext uri="{FF2B5EF4-FFF2-40B4-BE49-F238E27FC236}">
                      <a16:creationId xmlns:a16="http://schemas.microsoft.com/office/drawing/2014/main" id="{8EA965B5-296A-72CB-A3C0-7A157F69AC68}"/>
                    </a:ext>
                  </a:extLst>
                </p:cNvPr>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1" name="Freeform 71">
                  <a:extLst>
                    <a:ext uri="{FF2B5EF4-FFF2-40B4-BE49-F238E27FC236}">
                      <a16:creationId xmlns:a16="http://schemas.microsoft.com/office/drawing/2014/main" id="{8D0D478E-4584-495D-3156-3F441D85DABF}"/>
                    </a:ext>
                  </a:extLst>
                </p:cNvPr>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2" name="Freeform 72">
                  <a:extLst>
                    <a:ext uri="{FF2B5EF4-FFF2-40B4-BE49-F238E27FC236}">
                      <a16:creationId xmlns:a16="http://schemas.microsoft.com/office/drawing/2014/main" id="{14018573-1B17-91B8-B82E-EE352F8D9BDF}"/>
                    </a:ext>
                  </a:extLst>
                </p:cNvPr>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3" name="Freeform 73">
                  <a:extLst>
                    <a:ext uri="{FF2B5EF4-FFF2-40B4-BE49-F238E27FC236}">
                      <a16:creationId xmlns:a16="http://schemas.microsoft.com/office/drawing/2014/main" id="{FE8B62B8-A230-78E6-447E-DBFA507BC76A}"/>
                    </a:ext>
                  </a:extLst>
                </p:cNvPr>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4" name="Freeform 74">
                  <a:extLst>
                    <a:ext uri="{FF2B5EF4-FFF2-40B4-BE49-F238E27FC236}">
                      <a16:creationId xmlns:a16="http://schemas.microsoft.com/office/drawing/2014/main" id="{17687DF2-99C0-C8C0-CD88-1D0988327BC4}"/>
                    </a:ext>
                  </a:extLst>
                </p:cNvPr>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5" name="Freeform 75">
                  <a:extLst>
                    <a:ext uri="{FF2B5EF4-FFF2-40B4-BE49-F238E27FC236}">
                      <a16:creationId xmlns:a16="http://schemas.microsoft.com/office/drawing/2014/main" id="{40B51AE2-55BA-A4C9-F95C-6F2F01E2CE9D}"/>
                    </a:ext>
                  </a:extLst>
                </p:cNvPr>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6" name="Freeform 76">
                  <a:extLst>
                    <a:ext uri="{FF2B5EF4-FFF2-40B4-BE49-F238E27FC236}">
                      <a16:creationId xmlns:a16="http://schemas.microsoft.com/office/drawing/2014/main" id="{B79EEEB0-D2FC-BF1E-C133-923926FD0250}"/>
                    </a:ext>
                  </a:extLst>
                </p:cNvPr>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7" name="Freeform 77">
                  <a:extLst>
                    <a:ext uri="{FF2B5EF4-FFF2-40B4-BE49-F238E27FC236}">
                      <a16:creationId xmlns:a16="http://schemas.microsoft.com/office/drawing/2014/main" id="{A75CEE58-05CC-B25F-B90B-8CEA003C6024}"/>
                    </a:ext>
                  </a:extLst>
                </p:cNvPr>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8" name="Freeform 78">
                  <a:extLst>
                    <a:ext uri="{FF2B5EF4-FFF2-40B4-BE49-F238E27FC236}">
                      <a16:creationId xmlns:a16="http://schemas.microsoft.com/office/drawing/2014/main" id="{B826D2F2-300C-5DF9-E404-2A4A7F43E428}"/>
                    </a:ext>
                  </a:extLst>
                </p:cNvPr>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599" name="Freeform 79">
                  <a:extLst>
                    <a:ext uri="{FF2B5EF4-FFF2-40B4-BE49-F238E27FC236}">
                      <a16:creationId xmlns:a16="http://schemas.microsoft.com/office/drawing/2014/main" id="{56F3E794-CBB5-38A5-DFFA-1D41119EB023}"/>
                    </a:ext>
                  </a:extLst>
                </p:cNvPr>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0" name="Freeform 80">
                  <a:extLst>
                    <a:ext uri="{FF2B5EF4-FFF2-40B4-BE49-F238E27FC236}">
                      <a16:creationId xmlns:a16="http://schemas.microsoft.com/office/drawing/2014/main" id="{18976194-CFAD-EE9C-0D32-21165C9566DA}"/>
                    </a:ext>
                  </a:extLst>
                </p:cNvPr>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1" name="Freeform 81">
                  <a:extLst>
                    <a:ext uri="{FF2B5EF4-FFF2-40B4-BE49-F238E27FC236}">
                      <a16:creationId xmlns:a16="http://schemas.microsoft.com/office/drawing/2014/main" id="{BCA64931-0AB1-27A7-0121-21C7D0FFD584}"/>
                    </a:ext>
                  </a:extLst>
                </p:cNvPr>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2" name="Freeform 82">
                  <a:extLst>
                    <a:ext uri="{FF2B5EF4-FFF2-40B4-BE49-F238E27FC236}">
                      <a16:creationId xmlns:a16="http://schemas.microsoft.com/office/drawing/2014/main" id="{C6344344-9B57-9568-23F0-08D240F75B5C}"/>
                    </a:ext>
                  </a:extLst>
                </p:cNvPr>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3" name="Freeform 83">
                  <a:extLst>
                    <a:ext uri="{FF2B5EF4-FFF2-40B4-BE49-F238E27FC236}">
                      <a16:creationId xmlns:a16="http://schemas.microsoft.com/office/drawing/2014/main" id="{1A858B4B-DE93-0079-13DA-B6EABCB2F2C4}"/>
                    </a:ext>
                  </a:extLst>
                </p:cNvPr>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4" name="Freeform 84">
                  <a:extLst>
                    <a:ext uri="{FF2B5EF4-FFF2-40B4-BE49-F238E27FC236}">
                      <a16:creationId xmlns:a16="http://schemas.microsoft.com/office/drawing/2014/main" id="{305ABE58-A2F4-A8DF-203F-899EEB40CD6B}"/>
                    </a:ext>
                  </a:extLst>
                </p:cNvPr>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5" name="Freeform 85">
                  <a:extLst>
                    <a:ext uri="{FF2B5EF4-FFF2-40B4-BE49-F238E27FC236}">
                      <a16:creationId xmlns:a16="http://schemas.microsoft.com/office/drawing/2014/main" id="{64C3A5AF-0935-D28C-37A1-45FE7A4F4518}"/>
                    </a:ext>
                  </a:extLst>
                </p:cNvPr>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6" name="Freeform 86">
                  <a:extLst>
                    <a:ext uri="{FF2B5EF4-FFF2-40B4-BE49-F238E27FC236}">
                      <a16:creationId xmlns:a16="http://schemas.microsoft.com/office/drawing/2014/main" id="{6087D5FF-8DF9-2017-EADB-2D7C42E42CCB}"/>
                    </a:ext>
                  </a:extLst>
                </p:cNvPr>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7" name="Freeform 87">
                  <a:extLst>
                    <a:ext uri="{FF2B5EF4-FFF2-40B4-BE49-F238E27FC236}">
                      <a16:creationId xmlns:a16="http://schemas.microsoft.com/office/drawing/2014/main" id="{96B5BDC9-CCC9-5A91-2F24-CD8A261CC959}"/>
                    </a:ext>
                  </a:extLst>
                </p:cNvPr>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8" name="Freeform 88">
                  <a:extLst>
                    <a:ext uri="{FF2B5EF4-FFF2-40B4-BE49-F238E27FC236}">
                      <a16:creationId xmlns:a16="http://schemas.microsoft.com/office/drawing/2014/main" id="{207AE59F-21D5-8193-A0AE-EB47F85F8C76}"/>
                    </a:ext>
                  </a:extLst>
                </p:cNvPr>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09" name="Freeform 89">
                  <a:extLst>
                    <a:ext uri="{FF2B5EF4-FFF2-40B4-BE49-F238E27FC236}">
                      <a16:creationId xmlns:a16="http://schemas.microsoft.com/office/drawing/2014/main" id="{87167A19-7BD9-5CFA-B744-95F605C4B4FC}"/>
                    </a:ext>
                  </a:extLst>
                </p:cNvPr>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10" name="Freeform 90">
                  <a:extLst>
                    <a:ext uri="{FF2B5EF4-FFF2-40B4-BE49-F238E27FC236}">
                      <a16:creationId xmlns:a16="http://schemas.microsoft.com/office/drawing/2014/main" id="{BB9288D2-9F69-ECC8-EE6B-6077BBB1A47A}"/>
                    </a:ext>
                  </a:extLst>
                </p:cNvPr>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11" name="Freeform 91">
                  <a:extLst>
                    <a:ext uri="{FF2B5EF4-FFF2-40B4-BE49-F238E27FC236}">
                      <a16:creationId xmlns:a16="http://schemas.microsoft.com/office/drawing/2014/main" id="{4C5DEBEB-72C1-970E-7EB7-8B3982ACCAB3}"/>
                    </a:ext>
                  </a:extLst>
                </p:cNvPr>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12" name="Freeform 92">
                  <a:extLst>
                    <a:ext uri="{FF2B5EF4-FFF2-40B4-BE49-F238E27FC236}">
                      <a16:creationId xmlns:a16="http://schemas.microsoft.com/office/drawing/2014/main" id="{1A10D812-1DAA-9909-4994-746F5669C583}"/>
                    </a:ext>
                  </a:extLst>
                </p:cNvPr>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13" name="Freeform 93">
                  <a:extLst>
                    <a:ext uri="{FF2B5EF4-FFF2-40B4-BE49-F238E27FC236}">
                      <a16:creationId xmlns:a16="http://schemas.microsoft.com/office/drawing/2014/main" id="{DCE71136-1992-B108-E7D8-1282B2233E63}"/>
                    </a:ext>
                  </a:extLst>
                </p:cNvPr>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14" name="Freeform 94">
                  <a:extLst>
                    <a:ext uri="{FF2B5EF4-FFF2-40B4-BE49-F238E27FC236}">
                      <a16:creationId xmlns:a16="http://schemas.microsoft.com/office/drawing/2014/main" id="{E60B0CB8-B215-726D-E003-781C1D8FF0D5}"/>
                    </a:ext>
                  </a:extLst>
                </p:cNvPr>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615" name="Freeform 95">
                  <a:extLst>
                    <a:ext uri="{FF2B5EF4-FFF2-40B4-BE49-F238E27FC236}">
                      <a16:creationId xmlns:a16="http://schemas.microsoft.com/office/drawing/2014/main" id="{00183905-5223-7DB8-DC29-15FDF99D2826}"/>
                    </a:ext>
                  </a:extLst>
                </p:cNvPr>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48" name="Freeform 96">
                  <a:extLst>
                    <a:ext uri="{FF2B5EF4-FFF2-40B4-BE49-F238E27FC236}">
                      <a16:creationId xmlns:a16="http://schemas.microsoft.com/office/drawing/2014/main" id="{64B8630C-9225-8072-4E5B-BCF8C6DC5E9C}"/>
                    </a:ext>
                  </a:extLst>
                </p:cNvPr>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49" name="Freeform 97">
                  <a:extLst>
                    <a:ext uri="{FF2B5EF4-FFF2-40B4-BE49-F238E27FC236}">
                      <a16:creationId xmlns:a16="http://schemas.microsoft.com/office/drawing/2014/main" id="{57BAED2B-DB9D-AD1A-9C9A-57E9BF9F40CB}"/>
                    </a:ext>
                  </a:extLst>
                </p:cNvPr>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50" name="Freeform 98">
                  <a:extLst>
                    <a:ext uri="{FF2B5EF4-FFF2-40B4-BE49-F238E27FC236}">
                      <a16:creationId xmlns:a16="http://schemas.microsoft.com/office/drawing/2014/main" id="{E83A94AE-3E3E-CFB8-94C6-EABCA0C40834}"/>
                    </a:ext>
                  </a:extLst>
                </p:cNvPr>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57" name="Freeform 99">
                  <a:extLst>
                    <a:ext uri="{FF2B5EF4-FFF2-40B4-BE49-F238E27FC236}">
                      <a16:creationId xmlns:a16="http://schemas.microsoft.com/office/drawing/2014/main" id="{D43AD2A4-131C-D6BB-50C7-A76B3EB9DCF0}"/>
                    </a:ext>
                  </a:extLst>
                </p:cNvPr>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58" name="Freeform 100">
                  <a:extLst>
                    <a:ext uri="{FF2B5EF4-FFF2-40B4-BE49-F238E27FC236}">
                      <a16:creationId xmlns:a16="http://schemas.microsoft.com/office/drawing/2014/main" id="{B61F2AF9-01E3-357D-F874-E88A503B5EB2}"/>
                    </a:ext>
                  </a:extLst>
                </p:cNvPr>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59" name="Freeform 101">
                  <a:extLst>
                    <a:ext uri="{FF2B5EF4-FFF2-40B4-BE49-F238E27FC236}">
                      <a16:creationId xmlns:a16="http://schemas.microsoft.com/office/drawing/2014/main" id="{E6C14BCF-D391-F184-8BAE-EA41F87DC9B8}"/>
                    </a:ext>
                  </a:extLst>
                </p:cNvPr>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0" name="Freeform 102">
                  <a:extLst>
                    <a:ext uri="{FF2B5EF4-FFF2-40B4-BE49-F238E27FC236}">
                      <a16:creationId xmlns:a16="http://schemas.microsoft.com/office/drawing/2014/main" id="{492BCD2C-750C-011D-BC52-D909051192CE}"/>
                    </a:ext>
                  </a:extLst>
                </p:cNvPr>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1" name="Freeform 103">
                  <a:extLst>
                    <a:ext uri="{FF2B5EF4-FFF2-40B4-BE49-F238E27FC236}">
                      <a16:creationId xmlns:a16="http://schemas.microsoft.com/office/drawing/2014/main" id="{590BE6ED-0523-370A-F35F-720AA45E069C}"/>
                    </a:ext>
                  </a:extLst>
                </p:cNvPr>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2" name="Freeform 104">
                  <a:extLst>
                    <a:ext uri="{FF2B5EF4-FFF2-40B4-BE49-F238E27FC236}">
                      <a16:creationId xmlns:a16="http://schemas.microsoft.com/office/drawing/2014/main" id="{F06A5F82-1681-6B58-D947-3FB7767F1CD9}"/>
                    </a:ext>
                  </a:extLst>
                </p:cNvPr>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3" name="Freeform 105">
                  <a:extLst>
                    <a:ext uri="{FF2B5EF4-FFF2-40B4-BE49-F238E27FC236}">
                      <a16:creationId xmlns:a16="http://schemas.microsoft.com/office/drawing/2014/main" id="{CFAA08CE-A72A-49AF-C194-3ACA0C73189A}"/>
                    </a:ext>
                  </a:extLst>
                </p:cNvPr>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4" name="Freeform 106">
                  <a:extLst>
                    <a:ext uri="{FF2B5EF4-FFF2-40B4-BE49-F238E27FC236}">
                      <a16:creationId xmlns:a16="http://schemas.microsoft.com/office/drawing/2014/main" id="{0F2C7242-7030-AD1B-86E5-0FFA99E6A4E3}"/>
                    </a:ext>
                  </a:extLst>
                </p:cNvPr>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5" name="Freeform 107">
                  <a:extLst>
                    <a:ext uri="{FF2B5EF4-FFF2-40B4-BE49-F238E27FC236}">
                      <a16:creationId xmlns:a16="http://schemas.microsoft.com/office/drawing/2014/main" id="{96CB76C4-431A-DD8A-99D5-F0C3866282BA}"/>
                    </a:ext>
                  </a:extLst>
                </p:cNvPr>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6" name="Freeform 108">
                  <a:extLst>
                    <a:ext uri="{FF2B5EF4-FFF2-40B4-BE49-F238E27FC236}">
                      <a16:creationId xmlns:a16="http://schemas.microsoft.com/office/drawing/2014/main" id="{278C19A8-0BB4-0B79-6A50-668583FD0D72}"/>
                    </a:ext>
                  </a:extLst>
                </p:cNvPr>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7" name="Freeform 109">
                  <a:extLst>
                    <a:ext uri="{FF2B5EF4-FFF2-40B4-BE49-F238E27FC236}">
                      <a16:creationId xmlns:a16="http://schemas.microsoft.com/office/drawing/2014/main" id="{0043F8AB-9D43-D2B7-A477-81609D988F4F}"/>
                    </a:ext>
                  </a:extLst>
                </p:cNvPr>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8" name="Freeform 110">
                  <a:extLst>
                    <a:ext uri="{FF2B5EF4-FFF2-40B4-BE49-F238E27FC236}">
                      <a16:creationId xmlns:a16="http://schemas.microsoft.com/office/drawing/2014/main" id="{DE9AA358-E606-0937-1119-4DAA0BD75A41}"/>
                    </a:ext>
                  </a:extLst>
                </p:cNvPr>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69" name="Freeform 111">
                  <a:extLst>
                    <a:ext uri="{FF2B5EF4-FFF2-40B4-BE49-F238E27FC236}">
                      <a16:creationId xmlns:a16="http://schemas.microsoft.com/office/drawing/2014/main" id="{4CE66A9A-7723-8031-02B7-57BC035A4643}"/>
                    </a:ext>
                  </a:extLst>
                </p:cNvPr>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0" name="Freeform 112">
                  <a:extLst>
                    <a:ext uri="{FF2B5EF4-FFF2-40B4-BE49-F238E27FC236}">
                      <a16:creationId xmlns:a16="http://schemas.microsoft.com/office/drawing/2014/main" id="{A14E24CC-8667-00FC-DAB0-B22B7EBE488E}"/>
                    </a:ext>
                  </a:extLst>
                </p:cNvPr>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1" name="Freeform 113">
                  <a:extLst>
                    <a:ext uri="{FF2B5EF4-FFF2-40B4-BE49-F238E27FC236}">
                      <a16:creationId xmlns:a16="http://schemas.microsoft.com/office/drawing/2014/main" id="{1608FF39-7B4E-BAC8-ED65-51D479294E4C}"/>
                    </a:ext>
                  </a:extLst>
                </p:cNvPr>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2" name="Freeform 114">
                  <a:extLst>
                    <a:ext uri="{FF2B5EF4-FFF2-40B4-BE49-F238E27FC236}">
                      <a16:creationId xmlns:a16="http://schemas.microsoft.com/office/drawing/2014/main" id="{D1AACBC4-D028-6D08-1533-27F6FD7B5E40}"/>
                    </a:ext>
                  </a:extLst>
                </p:cNvPr>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3" name="Freeform 115">
                  <a:extLst>
                    <a:ext uri="{FF2B5EF4-FFF2-40B4-BE49-F238E27FC236}">
                      <a16:creationId xmlns:a16="http://schemas.microsoft.com/office/drawing/2014/main" id="{E13C51B7-EF29-B8EB-E88B-1A77C9D8AF25}"/>
                    </a:ext>
                  </a:extLst>
                </p:cNvPr>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4" name="Freeform 116">
                  <a:extLst>
                    <a:ext uri="{FF2B5EF4-FFF2-40B4-BE49-F238E27FC236}">
                      <a16:creationId xmlns:a16="http://schemas.microsoft.com/office/drawing/2014/main" id="{1CA7CB0A-97C1-97CA-824E-A35B7C579172}"/>
                    </a:ext>
                  </a:extLst>
                </p:cNvPr>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5" name="Freeform 117">
                  <a:extLst>
                    <a:ext uri="{FF2B5EF4-FFF2-40B4-BE49-F238E27FC236}">
                      <a16:creationId xmlns:a16="http://schemas.microsoft.com/office/drawing/2014/main" id="{C00EB636-3084-AA30-1755-24B07588CE18}"/>
                    </a:ext>
                  </a:extLst>
                </p:cNvPr>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6" name="Freeform 118">
                  <a:extLst>
                    <a:ext uri="{FF2B5EF4-FFF2-40B4-BE49-F238E27FC236}">
                      <a16:creationId xmlns:a16="http://schemas.microsoft.com/office/drawing/2014/main" id="{489FBE18-6EBB-0FC2-E29E-4E5CE86B4560}"/>
                    </a:ext>
                  </a:extLst>
                </p:cNvPr>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7" name="Freeform 119">
                  <a:extLst>
                    <a:ext uri="{FF2B5EF4-FFF2-40B4-BE49-F238E27FC236}">
                      <a16:creationId xmlns:a16="http://schemas.microsoft.com/office/drawing/2014/main" id="{DDFF460F-429E-65B8-236C-F1113D99CC5D}"/>
                    </a:ext>
                  </a:extLst>
                </p:cNvPr>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8" name="Freeform 120">
                  <a:extLst>
                    <a:ext uri="{FF2B5EF4-FFF2-40B4-BE49-F238E27FC236}">
                      <a16:creationId xmlns:a16="http://schemas.microsoft.com/office/drawing/2014/main" id="{51C46418-A3C7-59F2-9158-C45D2BE29C88}"/>
                    </a:ext>
                  </a:extLst>
                </p:cNvPr>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79" name="Freeform 121">
                  <a:extLst>
                    <a:ext uri="{FF2B5EF4-FFF2-40B4-BE49-F238E27FC236}">
                      <a16:creationId xmlns:a16="http://schemas.microsoft.com/office/drawing/2014/main" id="{780BDF5D-E9E7-0830-8089-8A600C979C10}"/>
                    </a:ext>
                  </a:extLst>
                </p:cNvPr>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0" name="Freeform 122">
                  <a:extLst>
                    <a:ext uri="{FF2B5EF4-FFF2-40B4-BE49-F238E27FC236}">
                      <a16:creationId xmlns:a16="http://schemas.microsoft.com/office/drawing/2014/main" id="{FA55A181-E3BC-A11D-A89A-819C52EC8268}"/>
                    </a:ext>
                  </a:extLst>
                </p:cNvPr>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1" name="Freeform 123">
                  <a:extLst>
                    <a:ext uri="{FF2B5EF4-FFF2-40B4-BE49-F238E27FC236}">
                      <a16:creationId xmlns:a16="http://schemas.microsoft.com/office/drawing/2014/main" id="{C46FE9D1-CDD3-B26E-749F-BC0853E43B22}"/>
                    </a:ext>
                  </a:extLst>
                </p:cNvPr>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2" name="Freeform 124">
                  <a:extLst>
                    <a:ext uri="{FF2B5EF4-FFF2-40B4-BE49-F238E27FC236}">
                      <a16:creationId xmlns:a16="http://schemas.microsoft.com/office/drawing/2014/main" id="{7AADD46A-11E4-81B7-49B5-38F9F301B4D3}"/>
                    </a:ext>
                  </a:extLst>
                </p:cNvPr>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3" name="Freeform 125">
                  <a:extLst>
                    <a:ext uri="{FF2B5EF4-FFF2-40B4-BE49-F238E27FC236}">
                      <a16:creationId xmlns:a16="http://schemas.microsoft.com/office/drawing/2014/main" id="{6EABEF68-6C22-C62E-BAC8-468C7338DEB6}"/>
                    </a:ext>
                  </a:extLst>
                </p:cNvPr>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4" name="Freeform 126">
                  <a:extLst>
                    <a:ext uri="{FF2B5EF4-FFF2-40B4-BE49-F238E27FC236}">
                      <a16:creationId xmlns:a16="http://schemas.microsoft.com/office/drawing/2014/main" id="{D6586664-5E39-31EF-A371-00846A308B3C}"/>
                    </a:ext>
                  </a:extLst>
                </p:cNvPr>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5" name="Freeform 127">
                  <a:extLst>
                    <a:ext uri="{FF2B5EF4-FFF2-40B4-BE49-F238E27FC236}">
                      <a16:creationId xmlns:a16="http://schemas.microsoft.com/office/drawing/2014/main" id="{7BE7156A-E51B-95BD-E0B7-0B4CC3BF939A}"/>
                    </a:ext>
                  </a:extLst>
                </p:cNvPr>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6" name="Freeform 128">
                  <a:extLst>
                    <a:ext uri="{FF2B5EF4-FFF2-40B4-BE49-F238E27FC236}">
                      <a16:creationId xmlns:a16="http://schemas.microsoft.com/office/drawing/2014/main" id="{B7F2DF26-6813-AC5E-B1A8-8769EB5A2372}"/>
                    </a:ext>
                  </a:extLst>
                </p:cNvPr>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7" name="Freeform 129">
                  <a:extLst>
                    <a:ext uri="{FF2B5EF4-FFF2-40B4-BE49-F238E27FC236}">
                      <a16:creationId xmlns:a16="http://schemas.microsoft.com/office/drawing/2014/main" id="{D818BB74-478D-B9AB-82CA-B5741F7EB6BF}"/>
                    </a:ext>
                  </a:extLst>
                </p:cNvPr>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8" name="Freeform 130">
                  <a:extLst>
                    <a:ext uri="{FF2B5EF4-FFF2-40B4-BE49-F238E27FC236}">
                      <a16:creationId xmlns:a16="http://schemas.microsoft.com/office/drawing/2014/main" id="{77749198-3F03-3356-270B-113BE4A74F86}"/>
                    </a:ext>
                  </a:extLst>
                </p:cNvPr>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89" name="Freeform 131">
                  <a:extLst>
                    <a:ext uri="{FF2B5EF4-FFF2-40B4-BE49-F238E27FC236}">
                      <a16:creationId xmlns:a16="http://schemas.microsoft.com/office/drawing/2014/main" id="{AE29C5F6-F157-2190-BA88-F0C01F8EB60C}"/>
                    </a:ext>
                  </a:extLst>
                </p:cNvPr>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0" name="Freeform 132">
                  <a:extLst>
                    <a:ext uri="{FF2B5EF4-FFF2-40B4-BE49-F238E27FC236}">
                      <a16:creationId xmlns:a16="http://schemas.microsoft.com/office/drawing/2014/main" id="{FF35589C-5743-4E88-2831-55AF10076ECC}"/>
                    </a:ext>
                  </a:extLst>
                </p:cNvPr>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1" name="Freeform 133">
                  <a:extLst>
                    <a:ext uri="{FF2B5EF4-FFF2-40B4-BE49-F238E27FC236}">
                      <a16:creationId xmlns:a16="http://schemas.microsoft.com/office/drawing/2014/main" id="{39005DB4-6D0D-776D-A418-B54C7B006FE4}"/>
                    </a:ext>
                  </a:extLst>
                </p:cNvPr>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2" name="Freeform 134">
                  <a:extLst>
                    <a:ext uri="{FF2B5EF4-FFF2-40B4-BE49-F238E27FC236}">
                      <a16:creationId xmlns:a16="http://schemas.microsoft.com/office/drawing/2014/main" id="{2DD5ABBF-24B5-6547-C994-BD2F3E196729}"/>
                    </a:ext>
                  </a:extLst>
                </p:cNvPr>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3" name="Freeform 135">
                  <a:extLst>
                    <a:ext uri="{FF2B5EF4-FFF2-40B4-BE49-F238E27FC236}">
                      <a16:creationId xmlns:a16="http://schemas.microsoft.com/office/drawing/2014/main" id="{469EA7B1-7F7B-1465-EBD0-652457BCE085}"/>
                    </a:ext>
                  </a:extLst>
                </p:cNvPr>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4" name="Freeform 136">
                  <a:extLst>
                    <a:ext uri="{FF2B5EF4-FFF2-40B4-BE49-F238E27FC236}">
                      <a16:creationId xmlns:a16="http://schemas.microsoft.com/office/drawing/2014/main" id="{1138A57D-4728-C6CA-931E-F2CF2DFA8FB2}"/>
                    </a:ext>
                  </a:extLst>
                </p:cNvPr>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5" name="Freeform 137">
                  <a:extLst>
                    <a:ext uri="{FF2B5EF4-FFF2-40B4-BE49-F238E27FC236}">
                      <a16:creationId xmlns:a16="http://schemas.microsoft.com/office/drawing/2014/main" id="{EEA52471-8A35-86B8-83A4-8FB7AD822EDD}"/>
                    </a:ext>
                  </a:extLst>
                </p:cNvPr>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6" name="Freeform 138">
                  <a:extLst>
                    <a:ext uri="{FF2B5EF4-FFF2-40B4-BE49-F238E27FC236}">
                      <a16:creationId xmlns:a16="http://schemas.microsoft.com/office/drawing/2014/main" id="{F3D73B66-D151-4DE3-B8C0-EA57023B50F4}"/>
                    </a:ext>
                  </a:extLst>
                </p:cNvPr>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7" name="Freeform 139">
                  <a:extLst>
                    <a:ext uri="{FF2B5EF4-FFF2-40B4-BE49-F238E27FC236}">
                      <a16:creationId xmlns:a16="http://schemas.microsoft.com/office/drawing/2014/main" id="{3AC56584-8E6E-31D1-6D16-EA93C3E4C754}"/>
                    </a:ext>
                  </a:extLst>
                </p:cNvPr>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8" name="Freeform 140">
                  <a:extLst>
                    <a:ext uri="{FF2B5EF4-FFF2-40B4-BE49-F238E27FC236}">
                      <a16:creationId xmlns:a16="http://schemas.microsoft.com/office/drawing/2014/main" id="{44F3AD0D-AA07-6ADB-5B63-9E55B273787B}"/>
                    </a:ext>
                  </a:extLst>
                </p:cNvPr>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099" name="Freeform 141">
                  <a:extLst>
                    <a:ext uri="{FF2B5EF4-FFF2-40B4-BE49-F238E27FC236}">
                      <a16:creationId xmlns:a16="http://schemas.microsoft.com/office/drawing/2014/main" id="{01F94FC2-1E0D-A119-88E9-F61AA8A9966C}"/>
                    </a:ext>
                  </a:extLst>
                </p:cNvPr>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0" name="Freeform 142">
                  <a:extLst>
                    <a:ext uri="{FF2B5EF4-FFF2-40B4-BE49-F238E27FC236}">
                      <a16:creationId xmlns:a16="http://schemas.microsoft.com/office/drawing/2014/main" id="{DA1AE6AC-6D20-E4AB-0EC6-A9B84AC57725}"/>
                    </a:ext>
                  </a:extLst>
                </p:cNvPr>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1" name="Freeform 143">
                  <a:extLst>
                    <a:ext uri="{FF2B5EF4-FFF2-40B4-BE49-F238E27FC236}">
                      <a16:creationId xmlns:a16="http://schemas.microsoft.com/office/drawing/2014/main" id="{213804A8-878E-27C5-AF42-38C4AB65C223}"/>
                    </a:ext>
                  </a:extLst>
                </p:cNvPr>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2" name="Freeform 144">
                  <a:extLst>
                    <a:ext uri="{FF2B5EF4-FFF2-40B4-BE49-F238E27FC236}">
                      <a16:creationId xmlns:a16="http://schemas.microsoft.com/office/drawing/2014/main" id="{55CF3ED3-12AE-8A68-F88F-4E7E81528CF2}"/>
                    </a:ext>
                  </a:extLst>
                </p:cNvPr>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3" name="Freeform 145">
                  <a:extLst>
                    <a:ext uri="{FF2B5EF4-FFF2-40B4-BE49-F238E27FC236}">
                      <a16:creationId xmlns:a16="http://schemas.microsoft.com/office/drawing/2014/main" id="{8D59EAC3-A6A4-7D9F-557C-F36F7091A52C}"/>
                    </a:ext>
                  </a:extLst>
                </p:cNvPr>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4" name="Freeform 146">
                  <a:extLst>
                    <a:ext uri="{FF2B5EF4-FFF2-40B4-BE49-F238E27FC236}">
                      <a16:creationId xmlns:a16="http://schemas.microsoft.com/office/drawing/2014/main" id="{7A6DD35B-C5E9-FF51-C0BC-D36DDF2052EB}"/>
                    </a:ext>
                  </a:extLst>
                </p:cNvPr>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5" name="Freeform 147">
                  <a:extLst>
                    <a:ext uri="{FF2B5EF4-FFF2-40B4-BE49-F238E27FC236}">
                      <a16:creationId xmlns:a16="http://schemas.microsoft.com/office/drawing/2014/main" id="{CE639B02-8DE9-4DEE-1B9C-9FA35965205A}"/>
                    </a:ext>
                  </a:extLst>
                </p:cNvPr>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6" name="Freeform 148">
                  <a:extLst>
                    <a:ext uri="{FF2B5EF4-FFF2-40B4-BE49-F238E27FC236}">
                      <a16:creationId xmlns:a16="http://schemas.microsoft.com/office/drawing/2014/main" id="{F3DF0967-B84F-ECEE-21D3-09255F8E6DC1}"/>
                    </a:ext>
                  </a:extLst>
                </p:cNvPr>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7" name="Freeform 149">
                  <a:extLst>
                    <a:ext uri="{FF2B5EF4-FFF2-40B4-BE49-F238E27FC236}">
                      <a16:creationId xmlns:a16="http://schemas.microsoft.com/office/drawing/2014/main" id="{65724949-3CDB-10C4-479E-FAEDEAE598A9}"/>
                    </a:ext>
                  </a:extLst>
                </p:cNvPr>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8" name="Freeform 150">
                  <a:extLst>
                    <a:ext uri="{FF2B5EF4-FFF2-40B4-BE49-F238E27FC236}">
                      <a16:creationId xmlns:a16="http://schemas.microsoft.com/office/drawing/2014/main" id="{189E2B69-6885-1EB6-5172-1167633F3B29}"/>
                    </a:ext>
                  </a:extLst>
                </p:cNvPr>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09" name="Freeform 151">
                  <a:extLst>
                    <a:ext uri="{FF2B5EF4-FFF2-40B4-BE49-F238E27FC236}">
                      <a16:creationId xmlns:a16="http://schemas.microsoft.com/office/drawing/2014/main" id="{6F46573A-4FF6-1FA7-85C6-13093C957BEE}"/>
                    </a:ext>
                  </a:extLst>
                </p:cNvPr>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10" name="Freeform 152">
                  <a:extLst>
                    <a:ext uri="{FF2B5EF4-FFF2-40B4-BE49-F238E27FC236}">
                      <a16:creationId xmlns:a16="http://schemas.microsoft.com/office/drawing/2014/main" id="{20A3D827-3271-220A-CB03-6B07938FA750}"/>
                    </a:ext>
                  </a:extLst>
                </p:cNvPr>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111" name="Freeform 153">
                  <a:extLst>
                    <a:ext uri="{FF2B5EF4-FFF2-40B4-BE49-F238E27FC236}">
                      <a16:creationId xmlns:a16="http://schemas.microsoft.com/office/drawing/2014/main" id="{EEE2D1E1-75DA-37E3-4B55-6F99A4055E93}"/>
                    </a:ext>
                  </a:extLst>
                </p:cNvPr>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3" name="Freeform 154">
                  <a:extLst>
                    <a:ext uri="{FF2B5EF4-FFF2-40B4-BE49-F238E27FC236}">
                      <a16:creationId xmlns:a16="http://schemas.microsoft.com/office/drawing/2014/main" id="{24EACDEA-3691-375E-ADB0-46CA9FCF527F}"/>
                    </a:ext>
                  </a:extLst>
                </p:cNvPr>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4" name="Freeform 155">
                  <a:extLst>
                    <a:ext uri="{FF2B5EF4-FFF2-40B4-BE49-F238E27FC236}">
                      <a16:creationId xmlns:a16="http://schemas.microsoft.com/office/drawing/2014/main" id="{97C96453-4A85-0E00-A860-56C6322782A8}"/>
                    </a:ext>
                  </a:extLst>
                </p:cNvPr>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5" name="Freeform 156">
                  <a:extLst>
                    <a:ext uri="{FF2B5EF4-FFF2-40B4-BE49-F238E27FC236}">
                      <a16:creationId xmlns:a16="http://schemas.microsoft.com/office/drawing/2014/main" id="{31569333-27A6-5AE3-1667-5DE9DE438027}"/>
                    </a:ext>
                  </a:extLst>
                </p:cNvPr>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6" name="Freeform 157">
                  <a:extLst>
                    <a:ext uri="{FF2B5EF4-FFF2-40B4-BE49-F238E27FC236}">
                      <a16:creationId xmlns:a16="http://schemas.microsoft.com/office/drawing/2014/main" id="{1C5FB3E9-8CC2-3EA4-DD52-B329623F11D3}"/>
                    </a:ext>
                  </a:extLst>
                </p:cNvPr>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7" name="Freeform 158">
                  <a:extLst>
                    <a:ext uri="{FF2B5EF4-FFF2-40B4-BE49-F238E27FC236}">
                      <a16:creationId xmlns:a16="http://schemas.microsoft.com/office/drawing/2014/main" id="{985C0188-AF88-3E46-1B06-9AD5E9902153}"/>
                    </a:ext>
                  </a:extLst>
                </p:cNvPr>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8" name="Freeform 159">
                  <a:extLst>
                    <a:ext uri="{FF2B5EF4-FFF2-40B4-BE49-F238E27FC236}">
                      <a16:creationId xmlns:a16="http://schemas.microsoft.com/office/drawing/2014/main" id="{C95C239D-27D6-D542-00EB-8307B5DA89A9}"/>
                    </a:ext>
                  </a:extLst>
                </p:cNvPr>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49" name="Freeform 160">
                  <a:extLst>
                    <a:ext uri="{FF2B5EF4-FFF2-40B4-BE49-F238E27FC236}">
                      <a16:creationId xmlns:a16="http://schemas.microsoft.com/office/drawing/2014/main" id="{E4A179BD-4DB4-DAFA-7C39-9B655E3661B2}"/>
                    </a:ext>
                  </a:extLst>
                </p:cNvPr>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0" name="Freeform 161">
                  <a:extLst>
                    <a:ext uri="{FF2B5EF4-FFF2-40B4-BE49-F238E27FC236}">
                      <a16:creationId xmlns:a16="http://schemas.microsoft.com/office/drawing/2014/main" id="{114ADA35-DB64-3997-78DD-C1740450CDBD}"/>
                    </a:ext>
                  </a:extLst>
                </p:cNvPr>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1" name="Freeform 162">
                  <a:extLst>
                    <a:ext uri="{FF2B5EF4-FFF2-40B4-BE49-F238E27FC236}">
                      <a16:creationId xmlns:a16="http://schemas.microsoft.com/office/drawing/2014/main" id="{50EC38E8-63EE-6506-6FB7-AAA1A17B4AFA}"/>
                    </a:ext>
                  </a:extLst>
                </p:cNvPr>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2" name="Freeform 163">
                  <a:extLst>
                    <a:ext uri="{FF2B5EF4-FFF2-40B4-BE49-F238E27FC236}">
                      <a16:creationId xmlns:a16="http://schemas.microsoft.com/office/drawing/2014/main" id="{70D2D83F-2545-15E3-1F34-FE454B254A69}"/>
                    </a:ext>
                  </a:extLst>
                </p:cNvPr>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3" name="Freeform 164">
                  <a:extLst>
                    <a:ext uri="{FF2B5EF4-FFF2-40B4-BE49-F238E27FC236}">
                      <a16:creationId xmlns:a16="http://schemas.microsoft.com/office/drawing/2014/main" id="{C03D3CA5-9943-0C85-75D9-4F01BB53FE0A}"/>
                    </a:ext>
                  </a:extLst>
                </p:cNvPr>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4" name="Freeform 165">
                  <a:extLst>
                    <a:ext uri="{FF2B5EF4-FFF2-40B4-BE49-F238E27FC236}">
                      <a16:creationId xmlns:a16="http://schemas.microsoft.com/office/drawing/2014/main" id="{CC5A3205-ACE8-2E74-B81B-58FB33B7A967}"/>
                    </a:ext>
                  </a:extLst>
                </p:cNvPr>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5" name="Freeform 166">
                  <a:extLst>
                    <a:ext uri="{FF2B5EF4-FFF2-40B4-BE49-F238E27FC236}">
                      <a16:creationId xmlns:a16="http://schemas.microsoft.com/office/drawing/2014/main" id="{8B10A9BD-AF90-BD01-FBF4-E16C1DA3F4B7}"/>
                    </a:ext>
                  </a:extLst>
                </p:cNvPr>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6" name="Freeform 167">
                  <a:extLst>
                    <a:ext uri="{FF2B5EF4-FFF2-40B4-BE49-F238E27FC236}">
                      <a16:creationId xmlns:a16="http://schemas.microsoft.com/office/drawing/2014/main" id="{F6101158-D68D-8241-6A77-B17BB21B2EAD}"/>
                    </a:ext>
                  </a:extLst>
                </p:cNvPr>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7" name="Freeform 168">
                  <a:extLst>
                    <a:ext uri="{FF2B5EF4-FFF2-40B4-BE49-F238E27FC236}">
                      <a16:creationId xmlns:a16="http://schemas.microsoft.com/office/drawing/2014/main" id="{377EA23E-080B-5DE4-09BB-9AAA165D09EF}"/>
                    </a:ext>
                  </a:extLst>
                </p:cNvPr>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8" name="Freeform 169">
                  <a:extLst>
                    <a:ext uri="{FF2B5EF4-FFF2-40B4-BE49-F238E27FC236}">
                      <a16:creationId xmlns:a16="http://schemas.microsoft.com/office/drawing/2014/main" id="{EF87FC35-59BF-9ED0-EC8D-4F3E7BD767D7}"/>
                    </a:ext>
                  </a:extLst>
                </p:cNvPr>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59" name="Freeform 170">
                  <a:extLst>
                    <a:ext uri="{FF2B5EF4-FFF2-40B4-BE49-F238E27FC236}">
                      <a16:creationId xmlns:a16="http://schemas.microsoft.com/office/drawing/2014/main" id="{C9ED54C5-64F5-EE7D-35BC-D9671E3ADF64}"/>
                    </a:ext>
                  </a:extLst>
                </p:cNvPr>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0" name="Freeform 171">
                  <a:extLst>
                    <a:ext uri="{FF2B5EF4-FFF2-40B4-BE49-F238E27FC236}">
                      <a16:creationId xmlns:a16="http://schemas.microsoft.com/office/drawing/2014/main" id="{3DDFB989-D3B7-D6F8-6EB8-D4543D455C7A}"/>
                    </a:ext>
                  </a:extLst>
                </p:cNvPr>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1" name="Freeform 172">
                  <a:extLst>
                    <a:ext uri="{FF2B5EF4-FFF2-40B4-BE49-F238E27FC236}">
                      <a16:creationId xmlns:a16="http://schemas.microsoft.com/office/drawing/2014/main" id="{4C74BE30-AB70-B984-817B-18B2BF91C754}"/>
                    </a:ext>
                  </a:extLst>
                </p:cNvPr>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2" name="Freeform 173">
                  <a:extLst>
                    <a:ext uri="{FF2B5EF4-FFF2-40B4-BE49-F238E27FC236}">
                      <a16:creationId xmlns:a16="http://schemas.microsoft.com/office/drawing/2014/main" id="{2E0B18DC-4385-CEF9-4654-1B09790851E5}"/>
                    </a:ext>
                  </a:extLst>
                </p:cNvPr>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3" name="Freeform 174">
                  <a:extLst>
                    <a:ext uri="{FF2B5EF4-FFF2-40B4-BE49-F238E27FC236}">
                      <a16:creationId xmlns:a16="http://schemas.microsoft.com/office/drawing/2014/main" id="{35A33DCA-48B2-99B7-3B0A-573D97093C0D}"/>
                    </a:ext>
                  </a:extLst>
                </p:cNvPr>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4" name="Freeform 175">
                  <a:extLst>
                    <a:ext uri="{FF2B5EF4-FFF2-40B4-BE49-F238E27FC236}">
                      <a16:creationId xmlns:a16="http://schemas.microsoft.com/office/drawing/2014/main" id="{936B6331-8DEC-4FF6-DCD2-3BA9F13F1EBB}"/>
                    </a:ext>
                  </a:extLst>
                </p:cNvPr>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5" name="Freeform 176">
                  <a:extLst>
                    <a:ext uri="{FF2B5EF4-FFF2-40B4-BE49-F238E27FC236}">
                      <a16:creationId xmlns:a16="http://schemas.microsoft.com/office/drawing/2014/main" id="{9531599D-7E32-7E45-83FC-D010EDE057EB}"/>
                    </a:ext>
                  </a:extLst>
                </p:cNvPr>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6" name="Freeform 177">
                  <a:extLst>
                    <a:ext uri="{FF2B5EF4-FFF2-40B4-BE49-F238E27FC236}">
                      <a16:creationId xmlns:a16="http://schemas.microsoft.com/office/drawing/2014/main" id="{2B7942B1-4B14-AAB9-2251-2C864A15ED16}"/>
                    </a:ext>
                  </a:extLst>
                </p:cNvPr>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7" name="Freeform 178">
                  <a:extLst>
                    <a:ext uri="{FF2B5EF4-FFF2-40B4-BE49-F238E27FC236}">
                      <a16:creationId xmlns:a16="http://schemas.microsoft.com/office/drawing/2014/main" id="{A35D9238-264A-8A18-7579-7043BEE08224}"/>
                    </a:ext>
                  </a:extLst>
                </p:cNvPr>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8" name="Freeform 179">
                  <a:extLst>
                    <a:ext uri="{FF2B5EF4-FFF2-40B4-BE49-F238E27FC236}">
                      <a16:creationId xmlns:a16="http://schemas.microsoft.com/office/drawing/2014/main" id="{AD2572DC-18F1-70FC-82FE-B299316F436A}"/>
                    </a:ext>
                  </a:extLst>
                </p:cNvPr>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69" name="Freeform 180">
                  <a:extLst>
                    <a:ext uri="{FF2B5EF4-FFF2-40B4-BE49-F238E27FC236}">
                      <a16:creationId xmlns:a16="http://schemas.microsoft.com/office/drawing/2014/main" id="{8E55B725-8FA1-5C42-D96F-ACC24FBE8CFB}"/>
                    </a:ext>
                  </a:extLst>
                </p:cNvPr>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0" name="Freeform 181">
                  <a:extLst>
                    <a:ext uri="{FF2B5EF4-FFF2-40B4-BE49-F238E27FC236}">
                      <a16:creationId xmlns:a16="http://schemas.microsoft.com/office/drawing/2014/main" id="{35D1A8C9-C118-9ED5-42F5-F2734C1B6947}"/>
                    </a:ext>
                  </a:extLst>
                </p:cNvPr>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1" name="Freeform 182">
                  <a:extLst>
                    <a:ext uri="{FF2B5EF4-FFF2-40B4-BE49-F238E27FC236}">
                      <a16:creationId xmlns:a16="http://schemas.microsoft.com/office/drawing/2014/main" id="{7E3BDDAD-4BC2-7D80-2FF9-1658B7B2EEA8}"/>
                    </a:ext>
                  </a:extLst>
                </p:cNvPr>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2" name="Freeform 183">
                  <a:extLst>
                    <a:ext uri="{FF2B5EF4-FFF2-40B4-BE49-F238E27FC236}">
                      <a16:creationId xmlns:a16="http://schemas.microsoft.com/office/drawing/2014/main" id="{F91F0E2C-142C-99A3-A637-FAAD3A35F34F}"/>
                    </a:ext>
                  </a:extLst>
                </p:cNvPr>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3" name="Freeform 184">
                  <a:extLst>
                    <a:ext uri="{FF2B5EF4-FFF2-40B4-BE49-F238E27FC236}">
                      <a16:creationId xmlns:a16="http://schemas.microsoft.com/office/drawing/2014/main" id="{65FF8D57-DBB7-5C66-DF2D-A74B79954CDE}"/>
                    </a:ext>
                  </a:extLst>
                </p:cNvPr>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4" name="Freeform 185">
                  <a:extLst>
                    <a:ext uri="{FF2B5EF4-FFF2-40B4-BE49-F238E27FC236}">
                      <a16:creationId xmlns:a16="http://schemas.microsoft.com/office/drawing/2014/main" id="{5537FE5A-D8BE-7599-7B92-0A1BA45B5090}"/>
                    </a:ext>
                  </a:extLst>
                </p:cNvPr>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5" name="Freeform 186">
                  <a:extLst>
                    <a:ext uri="{FF2B5EF4-FFF2-40B4-BE49-F238E27FC236}">
                      <a16:creationId xmlns:a16="http://schemas.microsoft.com/office/drawing/2014/main" id="{F2024C72-0B47-1325-CBBA-7BFC5977B3ED}"/>
                    </a:ext>
                  </a:extLst>
                </p:cNvPr>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6" name="Freeform 187">
                  <a:extLst>
                    <a:ext uri="{FF2B5EF4-FFF2-40B4-BE49-F238E27FC236}">
                      <a16:creationId xmlns:a16="http://schemas.microsoft.com/office/drawing/2014/main" id="{8B4D391C-41C8-1074-0A71-8FC63C273847}"/>
                    </a:ext>
                  </a:extLst>
                </p:cNvPr>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7" name="Freeform 188">
                  <a:extLst>
                    <a:ext uri="{FF2B5EF4-FFF2-40B4-BE49-F238E27FC236}">
                      <a16:creationId xmlns:a16="http://schemas.microsoft.com/office/drawing/2014/main" id="{F1CA4DBD-4EF9-9D0E-D48C-A7149F61D10F}"/>
                    </a:ext>
                  </a:extLst>
                </p:cNvPr>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8" name="Freeform 189">
                  <a:extLst>
                    <a:ext uri="{FF2B5EF4-FFF2-40B4-BE49-F238E27FC236}">
                      <a16:creationId xmlns:a16="http://schemas.microsoft.com/office/drawing/2014/main" id="{88C0ADE2-510A-FFD5-BAF1-9F37E85F2BE4}"/>
                    </a:ext>
                  </a:extLst>
                </p:cNvPr>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79" name="Freeform 190">
                  <a:extLst>
                    <a:ext uri="{FF2B5EF4-FFF2-40B4-BE49-F238E27FC236}">
                      <a16:creationId xmlns:a16="http://schemas.microsoft.com/office/drawing/2014/main" id="{E46936FB-BB4D-48EF-F638-1D03DDD3AA7D}"/>
                    </a:ext>
                  </a:extLst>
                </p:cNvPr>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0" name="Freeform 191">
                  <a:extLst>
                    <a:ext uri="{FF2B5EF4-FFF2-40B4-BE49-F238E27FC236}">
                      <a16:creationId xmlns:a16="http://schemas.microsoft.com/office/drawing/2014/main" id="{9B7C553D-6621-6A98-FE52-52CD76020CDD}"/>
                    </a:ext>
                  </a:extLst>
                </p:cNvPr>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1" name="Freeform 192">
                  <a:extLst>
                    <a:ext uri="{FF2B5EF4-FFF2-40B4-BE49-F238E27FC236}">
                      <a16:creationId xmlns:a16="http://schemas.microsoft.com/office/drawing/2014/main" id="{1622F7C1-AD68-C38D-8655-412B2AD01B3A}"/>
                    </a:ext>
                  </a:extLst>
                </p:cNvPr>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2" name="Freeform 193">
                  <a:extLst>
                    <a:ext uri="{FF2B5EF4-FFF2-40B4-BE49-F238E27FC236}">
                      <a16:creationId xmlns:a16="http://schemas.microsoft.com/office/drawing/2014/main" id="{91AF4E2C-D9E6-E442-5D39-E0D939EB6B26}"/>
                    </a:ext>
                  </a:extLst>
                </p:cNvPr>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3" name="Freeform 194">
                  <a:extLst>
                    <a:ext uri="{FF2B5EF4-FFF2-40B4-BE49-F238E27FC236}">
                      <a16:creationId xmlns:a16="http://schemas.microsoft.com/office/drawing/2014/main" id="{A212E4EE-832B-1DAB-B613-6343C67B30E5}"/>
                    </a:ext>
                  </a:extLst>
                </p:cNvPr>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4" name="Freeform 195">
                  <a:extLst>
                    <a:ext uri="{FF2B5EF4-FFF2-40B4-BE49-F238E27FC236}">
                      <a16:creationId xmlns:a16="http://schemas.microsoft.com/office/drawing/2014/main" id="{958AF902-7317-BB7A-346E-CD3E3BC58849}"/>
                    </a:ext>
                  </a:extLst>
                </p:cNvPr>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5" name="Freeform 196">
                  <a:extLst>
                    <a:ext uri="{FF2B5EF4-FFF2-40B4-BE49-F238E27FC236}">
                      <a16:creationId xmlns:a16="http://schemas.microsoft.com/office/drawing/2014/main" id="{26210DF4-0C47-1C84-FE8F-4095388D96BE}"/>
                    </a:ext>
                  </a:extLst>
                </p:cNvPr>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6" name="Freeform 197">
                  <a:extLst>
                    <a:ext uri="{FF2B5EF4-FFF2-40B4-BE49-F238E27FC236}">
                      <a16:creationId xmlns:a16="http://schemas.microsoft.com/office/drawing/2014/main" id="{35BF5578-472C-62E9-9087-F1BA871574FD}"/>
                    </a:ext>
                  </a:extLst>
                </p:cNvPr>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7" name="Freeform 198">
                  <a:extLst>
                    <a:ext uri="{FF2B5EF4-FFF2-40B4-BE49-F238E27FC236}">
                      <a16:creationId xmlns:a16="http://schemas.microsoft.com/office/drawing/2014/main" id="{4D38C401-3616-20D2-F7B7-C41BD7806E04}"/>
                    </a:ext>
                  </a:extLst>
                </p:cNvPr>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8" name="Freeform 199">
                  <a:extLst>
                    <a:ext uri="{FF2B5EF4-FFF2-40B4-BE49-F238E27FC236}">
                      <a16:creationId xmlns:a16="http://schemas.microsoft.com/office/drawing/2014/main" id="{E3FE3374-EF12-E2FF-CA41-DB9E956EBCA3}"/>
                    </a:ext>
                  </a:extLst>
                </p:cNvPr>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89" name="Freeform 200">
                  <a:extLst>
                    <a:ext uri="{FF2B5EF4-FFF2-40B4-BE49-F238E27FC236}">
                      <a16:creationId xmlns:a16="http://schemas.microsoft.com/office/drawing/2014/main" id="{DE1AF88A-428D-330A-4C96-24DD953D498C}"/>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0" name="Freeform 201">
                  <a:extLst>
                    <a:ext uri="{FF2B5EF4-FFF2-40B4-BE49-F238E27FC236}">
                      <a16:creationId xmlns:a16="http://schemas.microsoft.com/office/drawing/2014/main" id="{1ADBFF93-DD1D-2A8C-DA69-A85C0285936E}"/>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1" name="Freeform 202">
                  <a:extLst>
                    <a:ext uri="{FF2B5EF4-FFF2-40B4-BE49-F238E27FC236}">
                      <a16:creationId xmlns:a16="http://schemas.microsoft.com/office/drawing/2014/main" id="{BCED6418-04DC-1336-E581-6D10DFAFD7EB}"/>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2" name="Freeform 203">
                  <a:extLst>
                    <a:ext uri="{FF2B5EF4-FFF2-40B4-BE49-F238E27FC236}">
                      <a16:creationId xmlns:a16="http://schemas.microsoft.com/office/drawing/2014/main" id="{DA1A10F6-D0A4-7895-0BCB-4C563EC4B816}"/>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3" name="Freeform 204">
                  <a:extLst>
                    <a:ext uri="{FF2B5EF4-FFF2-40B4-BE49-F238E27FC236}">
                      <a16:creationId xmlns:a16="http://schemas.microsoft.com/office/drawing/2014/main" id="{10322F69-833C-126C-7413-AE4F36306017}"/>
                    </a:ext>
                  </a:extLst>
                </p:cNvPr>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4" name="Freeform 205">
                  <a:extLst>
                    <a:ext uri="{FF2B5EF4-FFF2-40B4-BE49-F238E27FC236}">
                      <a16:creationId xmlns:a16="http://schemas.microsoft.com/office/drawing/2014/main" id="{73FF3F1E-7D8A-0308-0BF1-E25EF82245D0}"/>
                    </a:ext>
                  </a:extLst>
                </p:cNvPr>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5" name="Freeform 206">
                  <a:extLst>
                    <a:ext uri="{FF2B5EF4-FFF2-40B4-BE49-F238E27FC236}">
                      <a16:creationId xmlns:a16="http://schemas.microsoft.com/office/drawing/2014/main" id="{545BB10D-9162-FE54-5122-8AD5A2E63E55}"/>
                    </a:ext>
                  </a:extLst>
                </p:cNvPr>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6" name="Freeform 207">
                  <a:extLst>
                    <a:ext uri="{FF2B5EF4-FFF2-40B4-BE49-F238E27FC236}">
                      <a16:creationId xmlns:a16="http://schemas.microsoft.com/office/drawing/2014/main" id="{326F9635-05AB-16AD-F874-B7CE002CD8D4}"/>
                    </a:ext>
                  </a:extLst>
                </p:cNvPr>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7" name="Freeform 208">
                  <a:extLst>
                    <a:ext uri="{FF2B5EF4-FFF2-40B4-BE49-F238E27FC236}">
                      <a16:creationId xmlns:a16="http://schemas.microsoft.com/office/drawing/2014/main" id="{9CF98FA5-3CBA-BDB4-46C6-8E676627F070}"/>
                    </a:ext>
                  </a:extLst>
                </p:cNvPr>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8" name="Freeform 209">
                  <a:extLst>
                    <a:ext uri="{FF2B5EF4-FFF2-40B4-BE49-F238E27FC236}">
                      <a16:creationId xmlns:a16="http://schemas.microsoft.com/office/drawing/2014/main" id="{6E006A76-0778-6AA7-B781-DC2F96E85984}"/>
                    </a:ext>
                  </a:extLst>
                </p:cNvPr>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99" name="Freeform 210">
                  <a:extLst>
                    <a:ext uri="{FF2B5EF4-FFF2-40B4-BE49-F238E27FC236}">
                      <a16:creationId xmlns:a16="http://schemas.microsoft.com/office/drawing/2014/main" id="{27478682-2ACD-A28F-6B50-01D6342897C9}"/>
                    </a:ext>
                  </a:extLst>
                </p:cNvPr>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0" name="Freeform 211">
                  <a:extLst>
                    <a:ext uri="{FF2B5EF4-FFF2-40B4-BE49-F238E27FC236}">
                      <a16:creationId xmlns:a16="http://schemas.microsoft.com/office/drawing/2014/main" id="{4DD92D98-B106-5CD0-02D2-F462AF79AD75}"/>
                    </a:ext>
                  </a:extLst>
                </p:cNvPr>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1" name="Freeform 212">
                  <a:extLst>
                    <a:ext uri="{FF2B5EF4-FFF2-40B4-BE49-F238E27FC236}">
                      <a16:creationId xmlns:a16="http://schemas.microsoft.com/office/drawing/2014/main" id="{9DD95F8E-CF93-D23E-9B65-5BBA37F164B2}"/>
                    </a:ext>
                  </a:extLst>
                </p:cNvPr>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2" name="Freeform 214">
                  <a:extLst>
                    <a:ext uri="{FF2B5EF4-FFF2-40B4-BE49-F238E27FC236}">
                      <a16:creationId xmlns:a16="http://schemas.microsoft.com/office/drawing/2014/main" id="{11CF71BF-72B5-509A-712E-B89EC62627B0}"/>
                    </a:ext>
                  </a:extLst>
                </p:cNvPr>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3" name="Freeform 215">
                  <a:extLst>
                    <a:ext uri="{FF2B5EF4-FFF2-40B4-BE49-F238E27FC236}">
                      <a16:creationId xmlns:a16="http://schemas.microsoft.com/office/drawing/2014/main" id="{3B49FE2B-FFD5-F21F-688F-1EFAD99D96E7}"/>
                    </a:ext>
                  </a:extLst>
                </p:cNvPr>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4" name="Freeform 216">
                  <a:extLst>
                    <a:ext uri="{FF2B5EF4-FFF2-40B4-BE49-F238E27FC236}">
                      <a16:creationId xmlns:a16="http://schemas.microsoft.com/office/drawing/2014/main" id="{65BF9BB5-73FC-7CA0-2141-0B6B0433D971}"/>
                    </a:ext>
                  </a:extLst>
                </p:cNvPr>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5" name="Freeform 217">
                  <a:extLst>
                    <a:ext uri="{FF2B5EF4-FFF2-40B4-BE49-F238E27FC236}">
                      <a16:creationId xmlns:a16="http://schemas.microsoft.com/office/drawing/2014/main" id="{728E52C2-E575-9945-DD28-FB539A06D521}"/>
                    </a:ext>
                  </a:extLst>
                </p:cNvPr>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6" name="Freeform 218">
                  <a:extLst>
                    <a:ext uri="{FF2B5EF4-FFF2-40B4-BE49-F238E27FC236}">
                      <a16:creationId xmlns:a16="http://schemas.microsoft.com/office/drawing/2014/main" id="{A5A58F42-D1D2-7662-E0C7-B35C0EEC79AD}"/>
                    </a:ext>
                  </a:extLst>
                </p:cNvPr>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7" name="Freeform 219">
                  <a:extLst>
                    <a:ext uri="{FF2B5EF4-FFF2-40B4-BE49-F238E27FC236}">
                      <a16:creationId xmlns:a16="http://schemas.microsoft.com/office/drawing/2014/main" id="{29B503C9-3F80-ACCF-98BF-F728A05F5043}"/>
                    </a:ext>
                  </a:extLst>
                </p:cNvPr>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8" name="Freeform 220">
                  <a:extLst>
                    <a:ext uri="{FF2B5EF4-FFF2-40B4-BE49-F238E27FC236}">
                      <a16:creationId xmlns:a16="http://schemas.microsoft.com/office/drawing/2014/main" id="{02CF26F9-0CCE-6415-1CF1-F440882A7A2D}"/>
                    </a:ext>
                  </a:extLst>
                </p:cNvPr>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09" name="Freeform 221">
                  <a:extLst>
                    <a:ext uri="{FF2B5EF4-FFF2-40B4-BE49-F238E27FC236}">
                      <a16:creationId xmlns:a16="http://schemas.microsoft.com/office/drawing/2014/main" id="{46793889-C847-FC87-0336-FFD084930E3D}"/>
                    </a:ext>
                  </a:extLst>
                </p:cNvPr>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10" name="Freeform 222">
                  <a:extLst>
                    <a:ext uri="{FF2B5EF4-FFF2-40B4-BE49-F238E27FC236}">
                      <a16:creationId xmlns:a16="http://schemas.microsoft.com/office/drawing/2014/main" id="{5C38F74C-9D4C-A158-5E0D-EAD0DA28D54A}"/>
                    </a:ext>
                  </a:extLst>
                </p:cNvPr>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11" name="Freeform 223">
                  <a:extLst>
                    <a:ext uri="{FF2B5EF4-FFF2-40B4-BE49-F238E27FC236}">
                      <a16:creationId xmlns:a16="http://schemas.microsoft.com/office/drawing/2014/main" id="{11DDA774-6343-2A11-C2DC-4951F9DB7442}"/>
                    </a:ext>
                  </a:extLst>
                </p:cNvPr>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12" name="Freeform 224">
                  <a:extLst>
                    <a:ext uri="{FF2B5EF4-FFF2-40B4-BE49-F238E27FC236}">
                      <a16:creationId xmlns:a16="http://schemas.microsoft.com/office/drawing/2014/main" id="{AEECF868-7F46-741B-95C0-EC4A36319487}"/>
                    </a:ext>
                  </a:extLst>
                </p:cNvPr>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13" name="Freeform 225">
                  <a:extLst>
                    <a:ext uri="{FF2B5EF4-FFF2-40B4-BE49-F238E27FC236}">
                      <a16:creationId xmlns:a16="http://schemas.microsoft.com/office/drawing/2014/main" id="{F54367D8-B97B-FFCF-F53A-A5F8EC4D90BE}"/>
                    </a:ext>
                  </a:extLst>
                </p:cNvPr>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14" name="Freeform 226">
                  <a:extLst>
                    <a:ext uri="{FF2B5EF4-FFF2-40B4-BE49-F238E27FC236}">
                      <a16:creationId xmlns:a16="http://schemas.microsoft.com/office/drawing/2014/main" id="{7363C2F9-3855-17B7-D200-5CFCBC4BCA5F}"/>
                    </a:ext>
                  </a:extLst>
                </p:cNvPr>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15" name="Freeform 227">
                  <a:extLst>
                    <a:ext uri="{FF2B5EF4-FFF2-40B4-BE49-F238E27FC236}">
                      <a16:creationId xmlns:a16="http://schemas.microsoft.com/office/drawing/2014/main" id="{F287A9F4-51BE-60A7-AD54-18DAB4504F05}"/>
                    </a:ext>
                  </a:extLst>
                </p:cNvPr>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accent1"/>
                  </a:solidFill>
                  <a:round/>
                  <a:headEnd/>
                  <a:tailEnd/>
                </a:ln>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grpSp>
          <p:sp>
            <p:nvSpPr>
              <p:cNvPr id="21" name="Freeform 367">
                <a:extLst>
                  <a:ext uri="{FF2B5EF4-FFF2-40B4-BE49-F238E27FC236}">
                    <a16:creationId xmlns:a16="http://schemas.microsoft.com/office/drawing/2014/main" id="{E7EB8668-A2C1-691E-74F1-A88458E878FA}"/>
                  </a:ext>
                </a:extLst>
              </p:cNvPr>
              <p:cNvSpPr>
                <a:spLocks/>
              </p:cNvSpPr>
              <p:nvPr>
                <p:custDataLst>
                  <p:tags r:id="rId2"/>
                </p:custDataLst>
              </p:nvPr>
            </p:nvSpPr>
            <p:spPr bwMode="gray">
              <a:xfrm>
                <a:off x="3874480" y="4414288"/>
                <a:ext cx="7434" cy="4461"/>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noFill/>
              <a:ln w="4826">
                <a:solidFill>
                  <a:schemeClr val="bg1"/>
                </a:solidFill>
                <a:prstDash val="solid"/>
                <a:round/>
                <a:headEnd/>
                <a:tailEnd/>
              </a:ln>
            </p:spPr>
            <p:txBody>
              <a:bodyPr lIns="44560" tIns="44560" rIns="44560" bIns="44560"/>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2" name="Freeform 370">
                <a:extLst>
                  <a:ext uri="{FF2B5EF4-FFF2-40B4-BE49-F238E27FC236}">
                    <a16:creationId xmlns:a16="http://schemas.microsoft.com/office/drawing/2014/main" id="{8D50BA1C-A081-6B19-57F2-AAEE952A5C98}"/>
                  </a:ext>
                </a:extLst>
              </p:cNvPr>
              <p:cNvSpPr>
                <a:spLocks/>
              </p:cNvSpPr>
              <p:nvPr>
                <p:custDataLst>
                  <p:tags r:id="rId3"/>
                </p:custDataLst>
              </p:nvPr>
            </p:nvSpPr>
            <p:spPr bwMode="gray">
              <a:xfrm>
                <a:off x="3858733" y="4365224"/>
                <a:ext cx="2973" cy="4461"/>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noFill/>
              <a:ln w="4826">
                <a:solidFill>
                  <a:schemeClr val="bg1"/>
                </a:solidFill>
                <a:prstDash val="solid"/>
                <a:round/>
                <a:headEnd/>
                <a:tailEnd/>
              </a:ln>
            </p:spPr>
            <p:txBody>
              <a:bodyPr lIns="44560" tIns="44560" rIns="44560" bIns="44560"/>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3" name="Rectangle 372">
                <a:extLst>
                  <a:ext uri="{FF2B5EF4-FFF2-40B4-BE49-F238E27FC236}">
                    <a16:creationId xmlns:a16="http://schemas.microsoft.com/office/drawing/2014/main" id="{6A5DF1A8-1BC6-7084-654A-406DE684F430}"/>
                  </a:ext>
                </a:extLst>
              </p:cNvPr>
              <p:cNvSpPr>
                <a:spLocks noChangeArrowheads="1"/>
              </p:cNvSpPr>
              <p:nvPr>
                <p:custDataLst>
                  <p:tags r:id="rId4"/>
                </p:custDataLst>
              </p:nvPr>
            </p:nvSpPr>
            <p:spPr bwMode="gray">
              <a:xfrm>
                <a:off x="4135266" y="4421721"/>
                <a:ext cx="2973" cy="1488"/>
              </a:xfrm>
              <a:prstGeom prst="rect">
                <a:avLst/>
              </a:prstGeom>
              <a:noFill/>
              <a:ln w="4826">
                <a:solidFill>
                  <a:schemeClr val="bg1"/>
                </a:solidFill>
                <a:miter lim="800000"/>
                <a:headEnd/>
                <a:tailEnd/>
              </a:ln>
            </p:spPr>
            <p:txBody>
              <a:bodyPr lIns="44560" tIns="44560" rIns="44560" bIns="44560"/>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24" name="Freeform 373">
                <a:extLst>
                  <a:ext uri="{FF2B5EF4-FFF2-40B4-BE49-F238E27FC236}">
                    <a16:creationId xmlns:a16="http://schemas.microsoft.com/office/drawing/2014/main" id="{8268F628-DA70-4AA8-6899-048F006C94CC}"/>
                  </a:ext>
                </a:extLst>
              </p:cNvPr>
              <p:cNvSpPr>
                <a:spLocks/>
              </p:cNvSpPr>
              <p:nvPr>
                <p:custDataLst>
                  <p:tags r:id="rId5"/>
                </p:custDataLst>
              </p:nvPr>
            </p:nvSpPr>
            <p:spPr bwMode="gray">
              <a:xfrm>
                <a:off x="4335977" y="4317649"/>
                <a:ext cx="11894" cy="7434"/>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noFill/>
              <a:ln w="4826">
                <a:solidFill>
                  <a:schemeClr val="bg1"/>
                </a:solidFill>
                <a:prstDash val="solid"/>
                <a:round/>
                <a:headEnd/>
                <a:tailEnd/>
              </a:ln>
            </p:spPr>
            <p:txBody>
              <a:bodyPr lIns="44560" tIns="44560" rIns="44560" bIns="44560"/>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US"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grpSp>
            <p:nvGrpSpPr>
              <p:cNvPr id="25" name="Group 499">
                <a:extLst>
                  <a:ext uri="{FF2B5EF4-FFF2-40B4-BE49-F238E27FC236}">
                    <a16:creationId xmlns:a16="http://schemas.microsoft.com/office/drawing/2014/main" id="{DB748586-DCF0-AACB-313F-710A57FC1C0F}"/>
                  </a:ext>
                </a:extLst>
              </p:cNvPr>
              <p:cNvGrpSpPr>
                <a:grpSpLocks noChangeAspect="1"/>
              </p:cNvGrpSpPr>
              <p:nvPr/>
            </p:nvGrpSpPr>
            <p:grpSpPr bwMode="auto">
              <a:xfrm>
                <a:off x="9197587" y="1490176"/>
                <a:ext cx="495262" cy="496718"/>
                <a:chOff x="3166" y="2259"/>
                <a:chExt cx="340" cy="341"/>
              </a:xfrm>
              <a:noFill/>
            </p:grpSpPr>
            <p:sp>
              <p:nvSpPr>
                <p:cNvPr id="7159" name="Freeform 500">
                  <a:extLst>
                    <a:ext uri="{FF2B5EF4-FFF2-40B4-BE49-F238E27FC236}">
                      <a16:creationId xmlns:a16="http://schemas.microsoft.com/office/drawing/2014/main" id="{BED87B2C-4A95-7088-D473-B7A9C156E535}"/>
                    </a:ext>
                  </a:extLst>
                </p:cNvPr>
                <p:cNvSpPr>
                  <a:spLocks noEditPoints="1"/>
                </p:cNvSpPr>
                <p:nvPr/>
              </p:nvSpPr>
              <p:spPr bwMode="auto">
                <a:xfrm>
                  <a:off x="3166" y="225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round/>
                      <a:headEnd/>
                      <a:tailEnd/>
                    </a14:hiddenLine>
                  </a:ext>
                </a:extLst>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GB"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4621" name="Freeform 501">
                  <a:extLst>
                    <a:ext uri="{FF2B5EF4-FFF2-40B4-BE49-F238E27FC236}">
                      <a16:creationId xmlns:a16="http://schemas.microsoft.com/office/drawing/2014/main" id="{C8B541B3-D8A7-0ACE-DC95-DC386BD97907}"/>
                    </a:ext>
                  </a:extLst>
                </p:cNvPr>
                <p:cNvSpPr>
                  <a:spLocks noEditPoints="1"/>
                </p:cNvSpPr>
                <p:nvPr/>
              </p:nvSpPr>
              <p:spPr bwMode="auto">
                <a:xfrm>
                  <a:off x="3259" y="2349"/>
                  <a:ext cx="161" cy="160"/>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grp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round/>
                      <a:headEnd/>
                      <a:tailEnd/>
                    </a14:hiddenLine>
                  </a:ext>
                </a:extLst>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GB"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grpSp>
          <p:grpSp>
            <p:nvGrpSpPr>
              <p:cNvPr id="26" name="Group 510">
                <a:extLst>
                  <a:ext uri="{FF2B5EF4-FFF2-40B4-BE49-F238E27FC236}">
                    <a16:creationId xmlns:a16="http://schemas.microsoft.com/office/drawing/2014/main" id="{FF060000-6F5E-511D-B42C-FAAE01E23476}"/>
                  </a:ext>
                </a:extLst>
              </p:cNvPr>
              <p:cNvGrpSpPr>
                <a:grpSpLocks noChangeAspect="1"/>
              </p:cNvGrpSpPr>
              <p:nvPr/>
            </p:nvGrpSpPr>
            <p:grpSpPr bwMode="auto">
              <a:xfrm>
                <a:off x="7403983" y="5675309"/>
                <a:ext cx="497992" cy="496532"/>
                <a:chOff x="4155" y="3088"/>
                <a:chExt cx="341" cy="340"/>
              </a:xfrm>
              <a:noFill/>
            </p:grpSpPr>
            <p:sp>
              <p:nvSpPr>
                <p:cNvPr id="7157" name="Freeform 511">
                  <a:extLst>
                    <a:ext uri="{FF2B5EF4-FFF2-40B4-BE49-F238E27FC236}">
                      <a16:creationId xmlns:a16="http://schemas.microsoft.com/office/drawing/2014/main" id="{85812289-2F06-CAA5-F38D-0FA7036830ED}"/>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round/>
                      <a:headEnd/>
                      <a:tailEnd/>
                    </a14:hiddenLine>
                  </a:ext>
                </a:extLst>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GB"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158" name="Freeform 512">
                  <a:extLst>
                    <a:ext uri="{FF2B5EF4-FFF2-40B4-BE49-F238E27FC236}">
                      <a16:creationId xmlns:a16="http://schemas.microsoft.com/office/drawing/2014/main" id="{9BACF325-3458-ECDC-4816-0F3CD0843697}"/>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round/>
                      <a:headEnd/>
                      <a:tailEnd/>
                    </a14:hiddenLine>
                  </a:ext>
                </a:extLst>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GB"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grpSp>
          <p:grpSp>
            <p:nvGrpSpPr>
              <p:cNvPr id="27" name="Group 583">
                <a:extLst>
                  <a:ext uri="{FF2B5EF4-FFF2-40B4-BE49-F238E27FC236}">
                    <a16:creationId xmlns:a16="http://schemas.microsoft.com/office/drawing/2014/main" id="{6039A91B-BA78-EE83-D1B5-E7F5E9B12D14}"/>
                  </a:ext>
                </a:extLst>
              </p:cNvPr>
              <p:cNvGrpSpPr>
                <a:grpSpLocks noChangeAspect="1"/>
              </p:cNvGrpSpPr>
              <p:nvPr/>
            </p:nvGrpSpPr>
            <p:grpSpPr bwMode="auto">
              <a:xfrm>
                <a:off x="3655171" y="3011920"/>
                <a:ext cx="496532" cy="496532"/>
                <a:chOff x="3390" y="3000"/>
                <a:chExt cx="340" cy="340"/>
              </a:xfrm>
              <a:noFill/>
            </p:grpSpPr>
            <p:sp>
              <p:nvSpPr>
                <p:cNvPr id="7155" name="Freeform 584">
                  <a:extLst>
                    <a:ext uri="{FF2B5EF4-FFF2-40B4-BE49-F238E27FC236}">
                      <a16:creationId xmlns:a16="http://schemas.microsoft.com/office/drawing/2014/main" id="{1BCA1DC7-F1FF-7D47-4110-9B64EB39C6F1}"/>
                    </a:ext>
                  </a:extLst>
                </p:cNvPr>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round/>
                      <a:headEnd/>
                      <a:tailEnd/>
                    </a14:hiddenLine>
                  </a:ext>
                </a:extLst>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GB"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sp>
              <p:nvSpPr>
                <p:cNvPr id="7156" name="Freeform 585">
                  <a:extLst>
                    <a:ext uri="{FF2B5EF4-FFF2-40B4-BE49-F238E27FC236}">
                      <a16:creationId xmlns:a16="http://schemas.microsoft.com/office/drawing/2014/main" id="{21F7E498-4A4B-2CFB-BE8C-69D65CE2E17F}"/>
                    </a:ext>
                  </a:extLst>
                </p:cNvPr>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round/>
                      <a:headEnd/>
                      <a:tailEnd/>
                    </a14:hiddenLine>
                  </a:ext>
                </a:extLst>
              </p:spPr>
              <p:txBody>
                <a:bodyPr vert="horz" wrap="square" lIns="91667" tIns="45833" rIns="91667" bIns="45833" numCol="1" anchor="t" anchorCtr="0" compatLnSpc="1">
                  <a:prstTxWarp prst="textNoShape">
                    <a:avLst/>
                  </a:prstTxWarp>
                </a:bodyPr>
                <a:lstStyle/>
                <a:p>
                  <a:pPr marL="0" marR="0" lvl="0" indent="0" algn="l" defTabSz="916686" rtl="0" eaLnBrk="1" fontAlgn="auto" latinLnBrk="0" hangingPunct="1">
                    <a:lnSpc>
                      <a:spcPct val="100000"/>
                    </a:lnSpc>
                    <a:spcBef>
                      <a:spcPts val="0"/>
                    </a:spcBef>
                    <a:spcAft>
                      <a:spcPts val="0"/>
                    </a:spcAft>
                    <a:buClrTx/>
                    <a:buSzTx/>
                    <a:buFontTx/>
                    <a:buNone/>
                    <a:tabLst/>
                    <a:defRPr/>
                  </a:pPr>
                  <a:endParaRPr kumimoji="0" lang="en-GB" sz="1805" b="0" i="0" u="none" strike="noStrike" kern="1200" cap="none" spc="0" normalizeH="0" baseline="0" noProof="0">
                    <a:ln>
                      <a:noFill/>
                    </a:ln>
                    <a:solidFill>
                      <a:srgbClr val="313131"/>
                    </a:solidFill>
                    <a:effectLst/>
                    <a:uLnTx/>
                    <a:uFillTx/>
                    <a:latin typeface="Calibri" panose="020F0502020204030204" pitchFamily="34" charset="0"/>
                    <a:cs typeface="Calibri" panose="020F0502020204030204" pitchFamily="34" charset="0"/>
                  </a:endParaRPr>
                </a:p>
              </p:txBody>
            </p:sp>
          </p:grpSp>
          <p:sp>
            <p:nvSpPr>
              <p:cNvPr id="28" name="Oval 27">
                <a:extLst>
                  <a:ext uri="{FF2B5EF4-FFF2-40B4-BE49-F238E27FC236}">
                    <a16:creationId xmlns:a16="http://schemas.microsoft.com/office/drawing/2014/main" id="{1D95C3A7-22A7-29BB-5D26-7DE4707F227A}"/>
                  </a:ext>
                </a:extLst>
              </p:cNvPr>
              <p:cNvSpPr/>
              <p:nvPr/>
            </p:nvSpPr>
            <p:spPr bwMode="gray">
              <a:xfrm>
                <a:off x="4900720" y="3099768"/>
                <a:ext cx="313197" cy="313197"/>
              </a:xfrm>
              <a:prstGeom prst="ellipse">
                <a:avLst/>
              </a:prstGeom>
              <a:noFill/>
              <a:ln w="19050" algn="ctr">
                <a:noFill/>
                <a:miter lim="800000"/>
                <a:headEnd/>
                <a:tailEnd/>
              </a:ln>
            </p:spPr>
            <p:txBody>
              <a:bodyPr wrap="square" lIns="89120" tIns="89120" rIns="89120" bIns="89120" rtlCol="0" anchor="ctr"/>
              <a:lstStyle/>
              <a:p>
                <a:pPr marL="0" marR="0" lvl="0" indent="0" algn="ctr" defTabSz="916686" rtl="0" eaLnBrk="1" fontAlgn="auto" latinLnBrk="0" hangingPunct="1">
                  <a:lnSpc>
                    <a:spcPct val="106000"/>
                  </a:lnSpc>
                  <a:spcBef>
                    <a:spcPts val="0"/>
                  </a:spcBef>
                  <a:spcAft>
                    <a:spcPts val="0"/>
                  </a:spcAft>
                  <a:buClrTx/>
                  <a:buSzTx/>
                  <a:buFontTx/>
                  <a:buNone/>
                  <a:tabLst/>
                  <a:defRPr/>
                </a:pPr>
                <a:endParaRPr kumimoji="0" lang="en-GB" sz="1604" b="1"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5CD28F30-1290-39F2-0096-2A65D97C1B4F}"/>
                  </a:ext>
                </a:extLst>
              </p:cNvPr>
              <p:cNvGrpSpPr/>
              <p:nvPr/>
            </p:nvGrpSpPr>
            <p:grpSpPr>
              <a:xfrm>
                <a:off x="5136076" y="3088005"/>
                <a:ext cx="530720" cy="591576"/>
                <a:chOff x="840378" y="2203269"/>
                <a:chExt cx="529407" cy="590111"/>
              </a:xfrm>
              <a:solidFill>
                <a:schemeClr val="accent2"/>
              </a:solidFill>
            </p:grpSpPr>
            <p:sp>
              <p:nvSpPr>
                <p:cNvPr id="7142" name="Oval 7141">
                  <a:extLst>
                    <a:ext uri="{FF2B5EF4-FFF2-40B4-BE49-F238E27FC236}">
                      <a16:creationId xmlns:a16="http://schemas.microsoft.com/office/drawing/2014/main" id="{33A7B463-A580-870E-C509-E991C96B0340}"/>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43" name="Oval 7142">
                  <a:extLst>
                    <a:ext uri="{FF2B5EF4-FFF2-40B4-BE49-F238E27FC236}">
                      <a16:creationId xmlns:a16="http://schemas.microsoft.com/office/drawing/2014/main" id="{447DCAFD-F018-5A99-914C-86049F076C42}"/>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44" name="Oval 7143">
                  <a:extLst>
                    <a:ext uri="{FF2B5EF4-FFF2-40B4-BE49-F238E27FC236}">
                      <a16:creationId xmlns:a16="http://schemas.microsoft.com/office/drawing/2014/main" id="{07C4E423-BD1D-BF09-C666-9C46D9C50F54}"/>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45" name="Oval 7144">
                  <a:extLst>
                    <a:ext uri="{FF2B5EF4-FFF2-40B4-BE49-F238E27FC236}">
                      <a16:creationId xmlns:a16="http://schemas.microsoft.com/office/drawing/2014/main" id="{DA451B9A-DC24-99AB-B599-73ABA7BD2E38}"/>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46" name="Oval 7145">
                  <a:extLst>
                    <a:ext uri="{FF2B5EF4-FFF2-40B4-BE49-F238E27FC236}">
                      <a16:creationId xmlns:a16="http://schemas.microsoft.com/office/drawing/2014/main" id="{81EF9F27-CFBD-D147-1C78-04A3595CB4FB}"/>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47" name="Oval 7146">
                  <a:extLst>
                    <a:ext uri="{FF2B5EF4-FFF2-40B4-BE49-F238E27FC236}">
                      <a16:creationId xmlns:a16="http://schemas.microsoft.com/office/drawing/2014/main" id="{C721BDB8-D9A4-93EA-230D-2676591DD38B}"/>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48" name="Oval 7147">
                  <a:extLst>
                    <a:ext uri="{FF2B5EF4-FFF2-40B4-BE49-F238E27FC236}">
                      <a16:creationId xmlns:a16="http://schemas.microsoft.com/office/drawing/2014/main" id="{E89B782A-1E37-3B4F-76B6-9B312BBC4AE0}"/>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7149" name="Straight Connector 7148">
                  <a:extLst>
                    <a:ext uri="{FF2B5EF4-FFF2-40B4-BE49-F238E27FC236}">
                      <a16:creationId xmlns:a16="http://schemas.microsoft.com/office/drawing/2014/main" id="{F750A20A-5AA6-E113-9E92-A8506CC11054}"/>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50" name="Straight Connector 7149">
                  <a:extLst>
                    <a:ext uri="{FF2B5EF4-FFF2-40B4-BE49-F238E27FC236}">
                      <a16:creationId xmlns:a16="http://schemas.microsoft.com/office/drawing/2014/main" id="{BAC9C7A0-ADFA-3047-52EA-87282552B288}"/>
                    </a:ext>
                  </a:extLst>
                </p:cNvPr>
                <p:cNvCxnSpPr>
                  <a:cxnSpLocks/>
                  <a:stCxn id="7142" idx="5"/>
                  <a:endCxn id="7144"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51" name="Straight Connector 7150">
                  <a:extLst>
                    <a:ext uri="{FF2B5EF4-FFF2-40B4-BE49-F238E27FC236}">
                      <a16:creationId xmlns:a16="http://schemas.microsoft.com/office/drawing/2014/main" id="{8018CA4C-1C5B-C569-DB93-1BB8E995EEF8}"/>
                    </a:ext>
                  </a:extLst>
                </p:cNvPr>
                <p:cNvCxnSpPr>
                  <a:cxnSpLocks/>
                  <a:stCxn id="7142" idx="7"/>
                  <a:endCxn id="7145"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52" name="Straight Connector 7151">
                  <a:extLst>
                    <a:ext uri="{FF2B5EF4-FFF2-40B4-BE49-F238E27FC236}">
                      <a16:creationId xmlns:a16="http://schemas.microsoft.com/office/drawing/2014/main" id="{4610E296-DC32-2D8A-03B9-1B5E2B9DF31C}"/>
                    </a:ext>
                  </a:extLst>
                </p:cNvPr>
                <p:cNvCxnSpPr>
                  <a:cxnSpLocks/>
                  <a:stCxn id="7146" idx="0"/>
                  <a:endCxn id="7142"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53" name="Straight Connector 7152">
                  <a:extLst>
                    <a:ext uri="{FF2B5EF4-FFF2-40B4-BE49-F238E27FC236}">
                      <a16:creationId xmlns:a16="http://schemas.microsoft.com/office/drawing/2014/main" id="{B503E62C-B341-0F20-7ADC-70AB9D19D82F}"/>
                    </a:ext>
                  </a:extLst>
                </p:cNvPr>
                <p:cNvCxnSpPr>
                  <a:cxnSpLocks/>
                  <a:stCxn id="7148" idx="0"/>
                  <a:endCxn id="7142"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54" name="Straight Connector 7153">
                  <a:extLst>
                    <a:ext uri="{FF2B5EF4-FFF2-40B4-BE49-F238E27FC236}">
                      <a16:creationId xmlns:a16="http://schemas.microsoft.com/office/drawing/2014/main" id="{C56489D6-F3AC-2436-E939-49FC7E4657E8}"/>
                    </a:ext>
                  </a:extLst>
                </p:cNvPr>
                <p:cNvCxnSpPr>
                  <a:cxnSpLocks/>
                  <a:stCxn id="7147" idx="6"/>
                  <a:endCxn id="7142"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8361CEF0-38FC-F26B-4FCF-DBC3CFE82249}"/>
                  </a:ext>
                </a:extLst>
              </p:cNvPr>
              <p:cNvGrpSpPr/>
              <p:nvPr/>
            </p:nvGrpSpPr>
            <p:grpSpPr>
              <a:xfrm>
                <a:off x="4867506" y="2360525"/>
                <a:ext cx="530720" cy="591576"/>
                <a:chOff x="840378" y="2203269"/>
                <a:chExt cx="529407" cy="590111"/>
              </a:xfrm>
              <a:solidFill>
                <a:schemeClr val="accent2"/>
              </a:solidFill>
            </p:grpSpPr>
            <p:sp>
              <p:nvSpPr>
                <p:cNvPr id="7129" name="Oval 7128">
                  <a:extLst>
                    <a:ext uri="{FF2B5EF4-FFF2-40B4-BE49-F238E27FC236}">
                      <a16:creationId xmlns:a16="http://schemas.microsoft.com/office/drawing/2014/main" id="{A96B64D1-0CF7-4FF6-F85A-CF8E47FCD3C4}"/>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30" name="Oval 7129">
                  <a:extLst>
                    <a:ext uri="{FF2B5EF4-FFF2-40B4-BE49-F238E27FC236}">
                      <a16:creationId xmlns:a16="http://schemas.microsoft.com/office/drawing/2014/main" id="{27644675-644F-2912-4841-FBF139D2E997}"/>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31" name="Oval 7130">
                  <a:extLst>
                    <a:ext uri="{FF2B5EF4-FFF2-40B4-BE49-F238E27FC236}">
                      <a16:creationId xmlns:a16="http://schemas.microsoft.com/office/drawing/2014/main" id="{F8B81E58-E570-3FD2-8E13-06FCAED1BE0B}"/>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32" name="Oval 7131">
                  <a:extLst>
                    <a:ext uri="{FF2B5EF4-FFF2-40B4-BE49-F238E27FC236}">
                      <a16:creationId xmlns:a16="http://schemas.microsoft.com/office/drawing/2014/main" id="{B154ED6B-755C-A995-E8DA-6F67694B4559}"/>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33" name="Oval 7132">
                  <a:extLst>
                    <a:ext uri="{FF2B5EF4-FFF2-40B4-BE49-F238E27FC236}">
                      <a16:creationId xmlns:a16="http://schemas.microsoft.com/office/drawing/2014/main" id="{0989977A-1222-1947-1AEB-62161D83866C}"/>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34" name="Oval 7133">
                  <a:extLst>
                    <a:ext uri="{FF2B5EF4-FFF2-40B4-BE49-F238E27FC236}">
                      <a16:creationId xmlns:a16="http://schemas.microsoft.com/office/drawing/2014/main" id="{AB12BD14-2A2A-62D8-29D3-C4A72CA6EECC}"/>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35" name="Oval 7134">
                  <a:extLst>
                    <a:ext uri="{FF2B5EF4-FFF2-40B4-BE49-F238E27FC236}">
                      <a16:creationId xmlns:a16="http://schemas.microsoft.com/office/drawing/2014/main" id="{A26AD9B7-1797-6810-0E2F-FD853C6FEC1F}"/>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7136" name="Straight Connector 7135">
                  <a:extLst>
                    <a:ext uri="{FF2B5EF4-FFF2-40B4-BE49-F238E27FC236}">
                      <a16:creationId xmlns:a16="http://schemas.microsoft.com/office/drawing/2014/main" id="{97F04D60-9CE9-A5BC-FA64-3F1882371CCD}"/>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37" name="Straight Connector 7136">
                  <a:extLst>
                    <a:ext uri="{FF2B5EF4-FFF2-40B4-BE49-F238E27FC236}">
                      <a16:creationId xmlns:a16="http://schemas.microsoft.com/office/drawing/2014/main" id="{C3EFE190-B213-1222-6D67-94DE4D80FE3C}"/>
                    </a:ext>
                  </a:extLst>
                </p:cNvPr>
                <p:cNvCxnSpPr>
                  <a:cxnSpLocks/>
                  <a:stCxn id="7129" idx="5"/>
                  <a:endCxn id="7131"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38" name="Straight Connector 7137">
                  <a:extLst>
                    <a:ext uri="{FF2B5EF4-FFF2-40B4-BE49-F238E27FC236}">
                      <a16:creationId xmlns:a16="http://schemas.microsoft.com/office/drawing/2014/main" id="{900DDAD4-A407-ED96-87F9-8680AF1904DF}"/>
                    </a:ext>
                  </a:extLst>
                </p:cNvPr>
                <p:cNvCxnSpPr>
                  <a:cxnSpLocks/>
                  <a:stCxn id="7129" idx="7"/>
                  <a:endCxn id="7132"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39" name="Straight Connector 7138">
                  <a:extLst>
                    <a:ext uri="{FF2B5EF4-FFF2-40B4-BE49-F238E27FC236}">
                      <a16:creationId xmlns:a16="http://schemas.microsoft.com/office/drawing/2014/main" id="{0F2417A2-8C22-C6FB-5FD8-F7D6DF0172F9}"/>
                    </a:ext>
                  </a:extLst>
                </p:cNvPr>
                <p:cNvCxnSpPr>
                  <a:cxnSpLocks/>
                  <a:stCxn id="7133" idx="0"/>
                  <a:endCxn id="7129"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40" name="Straight Connector 7139">
                  <a:extLst>
                    <a:ext uri="{FF2B5EF4-FFF2-40B4-BE49-F238E27FC236}">
                      <a16:creationId xmlns:a16="http://schemas.microsoft.com/office/drawing/2014/main" id="{65F12919-BCAF-DB01-2F20-2D82E225AFC9}"/>
                    </a:ext>
                  </a:extLst>
                </p:cNvPr>
                <p:cNvCxnSpPr>
                  <a:cxnSpLocks/>
                  <a:stCxn id="7135" idx="0"/>
                  <a:endCxn id="7129"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41" name="Straight Connector 7140">
                  <a:extLst>
                    <a:ext uri="{FF2B5EF4-FFF2-40B4-BE49-F238E27FC236}">
                      <a16:creationId xmlns:a16="http://schemas.microsoft.com/office/drawing/2014/main" id="{D1D1D1D0-AC59-9142-D814-8FB1EFCBEF04}"/>
                    </a:ext>
                  </a:extLst>
                </p:cNvPr>
                <p:cNvCxnSpPr>
                  <a:cxnSpLocks/>
                  <a:stCxn id="7134" idx="6"/>
                  <a:endCxn id="7129"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CC6F5E25-B4F9-E6FC-3639-8DF5C33F2939}"/>
                  </a:ext>
                </a:extLst>
              </p:cNvPr>
              <p:cNvGrpSpPr/>
              <p:nvPr/>
            </p:nvGrpSpPr>
            <p:grpSpPr>
              <a:xfrm>
                <a:off x="5072419" y="3663252"/>
                <a:ext cx="530720" cy="591576"/>
                <a:chOff x="840378" y="2203269"/>
                <a:chExt cx="529407" cy="590111"/>
              </a:xfrm>
              <a:solidFill>
                <a:schemeClr val="accent2"/>
              </a:solidFill>
            </p:grpSpPr>
            <p:sp>
              <p:nvSpPr>
                <p:cNvPr id="7116" name="Oval 7115">
                  <a:extLst>
                    <a:ext uri="{FF2B5EF4-FFF2-40B4-BE49-F238E27FC236}">
                      <a16:creationId xmlns:a16="http://schemas.microsoft.com/office/drawing/2014/main" id="{576B519E-5200-AD00-2ECF-B3144A5F417C}"/>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17" name="Oval 7116">
                  <a:extLst>
                    <a:ext uri="{FF2B5EF4-FFF2-40B4-BE49-F238E27FC236}">
                      <a16:creationId xmlns:a16="http://schemas.microsoft.com/office/drawing/2014/main" id="{E99841BC-A443-BD2B-2C47-AA6B8E6A9F26}"/>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18" name="Oval 7117">
                  <a:extLst>
                    <a:ext uri="{FF2B5EF4-FFF2-40B4-BE49-F238E27FC236}">
                      <a16:creationId xmlns:a16="http://schemas.microsoft.com/office/drawing/2014/main" id="{171409AB-D969-209D-5F5C-FC8332DA77A8}"/>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19" name="Oval 7118">
                  <a:extLst>
                    <a:ext uri="{FF2B5EF4-FFF2-40B4-BE49-F238E27FC236}">
                      <a16:creationId xmlns:a16="http://schemas.microsoft.com/office/drawing/2014/main" id="{2DD0F9CA-6A6B-9A39-A8AF-690A3107FD41}"/>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20" name="Oval 7119">
                  <a:extLst>
                    <a:ext uri="{FF2B5EF4-FFF2-40B4-BE49-F238E27FC236}">
                      <a16:creationId xmlns:a16="http://schemas.microsoft.com/office/drawing/2014/main" id="{C8BB76C6-91A8-FB27-C1DF-568E5A9F200B}"/>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21" name="Oval 7120">
                  <a:extLst>
                    <a:ext uri="{FF2B5EF4-FFF2-40B4-BE49-F238E27FC236}">
                      <a16:creationId xmlns:a16="http://schemas.microsoft.com/office/drawing/2014/main" id="{6D3C4D81-B5FE-F3C8-E233-8F97F9931AEE}"/>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22" name="Oval 7121">
                  <a:extLst>
                    <a:ext uri="{FF2B5EF4-FFF2-40B4-BE49-F238E27FC236}">
                      <a16:creationId xmlns:a16="http://schemas.microsoft.com/office/drawing/2014/main" id="{24022762-B3C2-3F03-498F-80027462D547}"/>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7123" name="Straight Connector 7122">
                  <a:extLst>
                    <a:ext uri="{FF2B5EF4-FFF2-40B4-BE49-F238E27FC236}">
                      <a16:creationId xmlns:a16="http://schemas.microsoft.com/office/drawing/2014/main" id="{9C708319-A54E-E28C-C944-8E85A477A05A}"/>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24" name="Straight Connector 7123">
                  <a:extLst>
                    <a:ext uri="{FF2B5EF4-FFF2-40B4-BE49-F238E27FC236}">
                      <a16:creationId xmlns:a16="http://schemas.microsoft.com/office/drawing/2014/main" id="{3CD2F531-8498-0CCF-C1F6-2F563882DB10}"/>
                    </a:ext>
                  </a:extLst>
                </p:cNvPr>
                <p:cNvCxnSpPr>
                  <a:cxnSpLocks/>
                  <a:stCxn id="7116" idx="5"/>
                  <a:endCxn id="7118"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25" name="Straight Connector 7124">
                  <a:extLst>
                    <a:ext uri="{FF2B5EF4-FFF2-40B4-BE49-F238E27FC236}">
                      <a16:creationId xmlns:a16="http://schemas.microsoft.com/office/drawing/2014/main" id="{355DC507-1698-AD58-856E-141EF291D446}"/>
                    </a:ext>
                  </a:extLst>
                </p:cNvPr>
                <p:cNvCxnSpPr>
                  <a:cxnSpLocks/>
                  <a:stCxn id="7116" idx="7"/>
                  <a:endCxn id="7119"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26" name="Straight Connector 7125">
                  <a:extLst>
                    <a:ext uri="{FF2B5EF4-FFF2-40B4-BE49-F238E27FC236}">
                      <a16:creationId xmlns:a16="http://schemas.microsoft.com/office/drawing/2014/main" id="{D96A1B60-54D5-93B4-52A2-FF9D90728956}"/>
                    </a:ext>
                  </a:extLst>
                </p:cNvPr>
                <p:cNvCxnSpPr>
                  <a:cxnSpLocks/>
                  <a:stCxn id="7120" idx="0"/>
                  <a:endCxn id="7116"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27" name="Straight Connector 7126">
                  <a:extLst>
                    <a:ext uri="{FF2B5EF4-FFF2-40B4-BE49-F238E27FC236}">
                      <a16:creationId xmlns:a16="http://schemas.microsoft.com/office/drawing/2014/main" id="{805B1033-A3FA-E20F-2E89-020D242B42DA}"/>
                    </a:ext>
                  </a:extLst>
                </p:cNvPr>
                <p:cNvCxnSpPr>
                  <a:cxnSpLocks/>
                  <a:stCxn id="7122" idx="0"/>
                  <a:endCxn id="7116"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28" name="Straight Connector 7127">
                  <a:extLst>
                    <a:ext uri="{FF2B5EF4-FFF2-40B4-BE49-F238E27FC236}">
                      <a16:creationId xmlns:a16="http://schemas.microsoft.com/office/drawing/2014/main" id="{0FDE5EA4-16FC-23F0-A076-714628840213}"/>
                    </a:ext>
                  </a:extLst>
                </p:cNvPr>
                <p:cNvCxnSpPr>
                  <a:cxnSpLocks/>
                  <a:stCxn id="7121" idx="6"/>
                  <a:endCxn id="7116"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9DE3AEC-E959-CBC1-C200-D19E7951AA8B}"/>
                  </a:ext>
                </a:extLst>
              </p:cNvPr>
              <p:cNvGrpSpPr/>
              <p:nvPr/>
            </p:nvGrpSpPr>
            <p:grpSpPr>
              <a:xfrm>
                <a:off x="6278161" y="4446082"/>
                <a:ext cx="530720" cy="591576"/>
                <a:chOff x="840378" y="2203269"/>
                <a:chExt cx="529407" cy="590111"/>
              </a:xfrm>
              <a:solidFill>
                <a:schemeClr val="accent2"/>
              </a:solidFill>
            </p:grpSpPr>
            <p:sp>
              <p:nvSpPr>
                <p:cNvPr id="4197" name="Oval 4196">
                  <a:extLst>
                    <a:ext uri="{FF2B5EF4-FFF2-40B4-BE49-F238E27FC236}">
                      <a16:creationId xmlns:a16="http://schemas.microsoft.com/office/drawing/2014/main" id="{837B9222-FBC0-53AC-F5B2-522D46D67E9D}"/>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04" name="Oval 7103">
                  <a:extLst>
                    <a:ext uri="{FF2B5EF4-FFF2-40B4-BE49-F238E27FC236}">
                      <a16:creationId xmlns:a16="http://schemas.microsoft.com/office/drawing/2014/main" id="{BDB4A350-444A-028D-DB99-7FF6CF4D6655}"/>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05" name="Oval 7104">
                  <a:extLst>
                    <a:ext uri="{FF2B5EF4-FFF2-40B4-BE49-F238E27FC236}">
                      <a16:creationId xmlns:a16="http://schemas.microsoft.com/office/drawing/2014/main" id="{9B2B808E-427D-F7E0-8014-9D1592162175}"/>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06" name="Oval 7105">
                  <a:extLst>
                    <a:ext uri="{FF2B5EF4-FFF2-40B4-BE49-F238E27FC236}">
                      <a16:creationId xmlns:a16="http://schemas.microsoft.com/office/drawing/2014/main" id="{6AB2B293-CE69-DAAA-AA20-73335D984ACB}"/>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07" name="Oval 7106">
                  <a:extLst>
                    <a:ext uri="{FF2B5EF4-FFF2-40B4-BE49-F238E27FC236}">
                      <a16:creationId xmlns:a16="http://schemas.microsoft.com/office/drawing/2014/main" id="{131B2957-EBFB-5300-6991-4A268D7E868F}"/>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08" name="Oval 7107">
                  <a:extLst>
                    <a:ext uri="{FF2B5EF4-FFF2-40B4-BE49-F238E27FC236}">
                      <a16:creationId xmlns:a16="http://schemas.microsoft.com/office/drawing/2014/main" id="{DCF0FAB8-8B45-C5BA-0427-53981CF3510A}"/>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109" name="Oval 7108">
                  <a:extLst>
                    <a:ext uri="{FF2B5EF4-FFF2-40B4-BE49-F238E27FC236}">
                      <a16:creationId xmlns:a16="http://schemas.microsoft.com/office/drawing/2014/main" id="{3426690C-7F09-72A8-6DD3-7EF9F48B25F7}"/>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7110" name="Straight Connector 7109">
                  <a:extLst>
                    <a:ext uri="{FF2B5EF4-FFF2-40B4-BE49-F238E27FC236}">
                      <a16:creationId xmlns:a16="http://schemas.microsoft.com/office/drawing/2014/main" id="{F9740D22-2FDB-EC1A-2BCB-716833D0F901}"/>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11" name="Straight Connector 7110">
                  <a:extLst>
                    <a:ext uri="{FF2B5EF4-FFF2-40B4-BE49-F238E27FC236}">
                      <a16:creationId xmlns:a16="http://schemas.microsoft.com/office/drawing/2014/main" id="{DF83829F-134B-D4AC-428B-AFA6C7B73731}"/>
                    </a:ext>
                  </a:extLst>
                </p:cNvPr>
                <p:cNvCxnSpPr>
                  <a:cxnSpLocks/>
                  <a:stCxn id="4197" idx="5"/>
                  <a:endCxn id="7105"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12" name="Straight Connector 7111">
                  <a:extLst>
                    <a:ext uri="{FF2B5EF4-FFF2-40B4-BE49-F238E27FC236}">
                      <a16:creationId xmlns:a16="http://schemas.microsoft.com/office/drawing/2014/main" id="{BBCAA9A7-C756-B4B0-EAF7-D1ABE5811E72}"/>
                    </a:ext>
                  </a:extLst>
                </p:cNvPr>
                <p:cNvCxnSpPr>
                  <a:cxnSpLocks/>
                  <a:stCxn id="4197" idx="7"/>
                  <a:endCxn id="7106"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13" name="Straight Connector 7112">
                  <a:extLst>
                    <a:ext uri="{FF2B5EF4-FFF2-40B4-BE49-F238E27FC236}">
                      <a16:creationId xmlns:a16="http://schemas.microsoft.com/office/drawing/2014/main" id="{30BB24AC-6473-9D14-F8D9-CBCB6A4DE3EB}"/>
                    </a:ext>
                  </a:extLst>
                </p:cNvPr>
                <p:cNvCxnSpPr>
                  <a:cxnSpLocks/>
                  <a:stCxn id="7107" idx="0"/>
                  <a:endCxn id="4197"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14" name="Straight Connector 7113">
                  <a:extLst>
                    <a:ext uri="{FF2B5EF4-FFF2-40B4-BE49-F238E27FC236}">
                      <a16:creationId xmlns:a16="http://schemas.microsoft.com/office/drawing/2014/main" id="{662025A9-3224-0472-8C0B-8837E55CC7AD}"/>
                    </a:ext>
                  </a:extLst>
                </p:cNvPr>
                <p:cNvCxnSpPr>
                  <a:cxnSpLocks/>
                  <a:stCxn id="7109" idx="0"/>
                  <a:endCxn id="4197"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15" name="Straight Connector 7114">
                  <a:extLst>
                    <a:ext uri="{FF2B5EF4-FFF2-40B4-BE49-F238E27FC236}">
                      <a16:creationId xmlns:a16="http://schemas.microsoft.com/office/drawing/2014/main" id="{65A1821A-594B-CC9E-F304-C3CC432F725E}"/>
                    </a:ext>
                  </a:extLst>
                </p:cNvPr>
                <p:cNvCxnSpPr>
                  <a:cxnSpLocks/>
                  <a:stCxn id="7108" idx="6"/>
                  <a:endCxn id="4197"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4DD73865-6CFC-30CA-DBFD-FBA5861C8447}"/>
                  </a:ext>
                </a:extLst>
              </p:cNvPr>
              <p:cNvGrpSpPr/>
              <p:nvPr/>
            </p:nvGrpSpPr>
            <p:grpSpPr>
              <a:xfrm>
                <a:off x="5903920" y="5123209"/>
                <a:ext cx="530720" cy="591576"/>
                <a:chOff x="840378" y="2203269"/>
                <a:chExt cx="529407" cy="590111"/>
              </a:xfrm>
              <a:solidFill>
                <a:schemeClr val="accent2"/>
              </a:solidFill>
            </p:grpSpPr>
            <p:sp>
              <p:nvSpPr>
                <p:cNvPr id="4184" name="Oval 4183">
                  <a:extLst>
                    <a:ext uri="{FF2B5EF4-FFF2-40B4-BE49-F238E27FC236}">
                      <a16:creationId xmlns:a16="http://schemas.microsoft.com/office/drawing/2014/main" id="{0B732232-9AA2-4A34-56A0-6DEC578EA824}"/>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85" name="Oval 4184">
                  <a:extLst>
                    <a:ext uri="{FF2B5EF4-FFF2-40B4-BE49-F238E27FC236}">
                      <a16:creationId xmlns:a16="http://schemas.microsoft.com/office/drawing/2014/main" id="{C307D249-EB0E-BB9F-EEC0-238E976A0F9E}"/>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86" name="Oval 4185">
                  <a:extLst>
                    <a:ext uri="{FF2B5EF4-FFF2-40B4-BE49-F238E27FC236}">
                      <a16:creationId xmlns:a16="http://schemas.microsoft.com/office/drawing/2014/main" id="{18168C82-75E1-2E5F-048A-A2CB717F2A45}"/>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87" name="Oval 4186">
                  <a:extLst>
                    <a:ext uri="{FF2B5EF4-FFF2-40B4-BE49-F238E27FC236}">
                      <a16:creationId xmlns:a16="http://schemas.microsoft.com/office/drawing/2014/main" id="{4FADA72A-0AB5-FB0D-E6D2-CF417A73BFB5}"/>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88" name="Oval 4187">
                  <a:extLst>
                    <a:ext uri="{FF2B5EF4-FFF2-40B4-BE49-F238E27FC236}">
                      <a16:creationId xmlns:a16="http://schemas.microsoft.com/office/drawing/2014/main" id="{96D5AF05-8D17-8D9F-9F48-527131F2A218}"/>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89" name="Oval 4188">
                  <a:extLst>
                    <a:ext uri="{FF2B5EF4-FFF2-40B4-BE49-F238E27FC236}">
                      <a16:creationId xmlns:a16="http://schemas.microsoft.com/office/drawing/2014/main" id="{1BE4CC01-ACBE-D41B-88E1-43B93B9D69F9}"/>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90" name="Oval 4189">
                  <a:extLst>
                    <a:ext uri="{FF2B5EF4-FFF2-40B4-BE49-F238E27FC236}">
                      <a16:creationId xmlns:a16="http://schemas.microsoft.com/office/drawing/2014/main" id="{C4994A03-0C94-9707-223F-08AFB0B0B41D}"/>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4191" name="Straight Connector 4190">
                  <a:extLst>
                    <a:ext uri="{FF2B5EF4-FFF2-40B4-BE49-F238E27FC236}">
                      <a16:creationId xmlns:a16="http://schemas.microsoft.com/office/drawing/2014/main" id="{95726B77-EBD9-74BD-AFA6-C201A45467C7}"/>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92" name="Straight Connector 4191">
                  <a:extLst>
                    <a:ext uri="{FF2B5EF4-FFF2-40B4-BE49-F238E27FC236}">
                      <a16:creationId xmlns:a16="http://schemas.microsoft.com/office/drawing/2014/main" id="{BF3E8E24-947F-541A-CC86-02D060195BFE}"/>
                    </a:ext>
                  </a:extLst>
                </p:cNvPr>
                <p:cNvCxnSpPr>
                  <a:cxnSpLocks/>
                  <a:stCxn id="4184" idx="5"/>
                  <a:endCxn id="4186"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93" name="Straight Connector 4192">
                  <a:extLst>
                    <a:ext uri="{FF2B5EF4-FFF2-40B4-BE49-F238E27FC236}">
                      <a16:creationId xmlns:a16="http://schemas.microsoft.com/office/drawing/2014/main" id="{CAC37120-41DD-0D0F-38F9-8480258A9FE1}"/>
                    </a:ext>
                  </a:extLst>
                </p:cNvPr>
                <p:cNvCxnSpPr>
                  <a:cxnSpLocks/>
                  <a:stCxn id="4184" idx="7"/>
                  <a:endCxn id="4187"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94" name="Straight Connector 4193">
                  <a:extLst>
                    <a:ext uri="{FF2B5EF4-FFF2-40B4-BE49-F238E27FC236}">
                      <a16:creationId xmlns:a16="http://schemas.microsoft.com/office/drawing/2014/main" id="{609CE6D7-4EB7-70C5-1153-32597B8F2FFF}"/>
                    </a:ext>
                  </a:extLst>
                </p:cNvPr>
                <p:cNvCxnSpPr>
                  <a:cxnSpLocks/>
                  <a:stCxn id="4188" idx="0"/>
                  <a:endCxn id="4184"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95" name="Straight Connector 4194">
                  <a:extLst>
                    <a:ext uri="{FF2B5EF4-FFF2-40B4-BE49-F238E27FC236}">
                      <a16:creationId xmlns:a16="http://schemas.microsoft.com/office/drawing/2014/main" id="{DC530820-EB01-C8AD-6262-8341D0426201}"/>
                    </a:ext>
                  </a:extLst>
                </p:cNvPr>
                <p:cNvCxnSpPr>
                  <a:cxnSpLocks/>
                  <a:stCxn id="4190" idx="0"/>
                  <a:endCxn id="4184"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96" name="Straight Connector 4195">
                  <a:extLst>
                    <a:ext uri="{FF2B5EF4-FFF2-40B4-BE49-F238E27FC236}">
                      <a16:creationId xmlns:a16="http://schemas.microsoft.com/office/drawing/2014/main" id="{5F345D28-97B7-F30E-E781-B35C89FDAE5C}"/>
                    </a:ext>
                  </a:extLst>
                </p:cNvPr>
                <p:cNvCxnSpPr>
                  <a:cxnSpLocks/>
                  <a:stCxn id="4189" idx="6"/>
                  <a:endCxn id="4184"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9ACFF5D8-0A85-8156-81FB-611D0BA05993}"/>
                  </a:ext>
                </a:extLst>
              </p:cNvPr>
              <p:cNvGrpSpPr/>
              <p:nvPr/>
            </p:nvGrpSpPr>
            <p:grpSpPr>
              <a:xfrm>
                <a:off x="7314343" y="3095961"/>
                <a:ext cx="530720" cy="591576"/>
                <a:chOff x="840378" y="2203269"/>
                <a:chExt cx="529407" cy="590111"/>
              </a:xfrm>
              <a:solidFill>
                <a:schemeClr val="accent2"/>
              </a:solidFill>
            </p:grpSpPr>
            <p:sp>
              <p:nvSpPr>
                <p:cNvPr id="4171" name="Oval 4170">
                  <a:extLst>
                    <a:ext uri="{FF2B5EF4-FFF2-40B4-BE49-F238E27FC236}">
                      <a16:creationId xmlns:a16="http://schemas.microsoft.com/office/drawing/2014/main" id="{1E7002B7-C702-441C-DD71-A7C8649256A1}"/>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72" name="Oval 4171">
                  <a:extLst>
                    <a:ext uri="{FF2B5EF4-FFF2-40B4-BE49-F238E27FC236}">
                      <a16:creationId xmlns:a16="http://schemas.microsoft.com/office/drawing/2014/main" id="{355D627E-A9E6-EAC1-E8F6-C3F4C9E9F6D4}"/>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73" name="Oval 4172">
                  <a:extLst>
                    <a:ext uri="{FF2B5EF4-FFF2-40B4-BE49-F238E27FC236}">
                      <a16:creationId xmlns:a16="http://schemas.microsoft.com/office/drawing/2014/main" id="{1599A960-098B-B7CB-7430-167F2D6331B8}"/>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74" name="Oval 4173">
                  <a:extLst>
                    <a:ext uri="{FF2B5EF4-FFF2-40B4-BE49-F238E27FC236}">
                      <a16:creationId xmlns:a16="http://schemas.microsoft.com/office/drawing/2014/main" id="{0F9C4E3B-6D77-21F7-729E-AAD308DC5819}"/>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75" name="Oval 4174">
                  <a:extLst>
                    <a:ext uri="{FF2B5EF4-FFF2-40B4-BE49-F238E27FC236}">
                      <a16:creationId xmlns:a16="http://schemas.microsoft.com/office/drawing/2014/main" id="{A9ECDF87-6134-42D4-8940-CD959658FFD7}"/>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76" name="Oval 4175">
                  <a:extLst>
                    <a:ext uri="{FF2B5EF4-FFF2-40B4-BE49-F238E27FC236}">
                      <a16:creationId xmlns:a16="http://schemas.microsoft.com/office/drawing/2014/main" id="{D8E2FAE9-A23E-066C-F378-3B48D0CB91B8}"/>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77" name="Oval 4176">
                  <a:extLst>
                    <a:ext uri="{FF2B5EF4-FFF2-40B4-BE49-F238E27FC236}">
                      <a16:creationId xmlns:a16="http://schemas.microsoft.com/office/drawing/2014/main" id="{BCA806D0-A292-54DA-7601-45C2CD3DDD0C}"/>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4178" name="Straight Connector 4177">
                  <a:extLst>
                    <a:ext uri="{FF2B5EF4-FFF2-40B4-BE49-F238E27FC236}">
                      <a16:creationId xmlns:a16="http://schemas.microsoft.com/office/drawing/2014/main" id="{5CCC21F4-D58C-F30A-BA98-E6680FFFDEC3}"/>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79" name="Straight Connector 4178">
                  <a:extLst>
                    <a:ext uri="{FF2B5EF4-FFF2-40B4-BE49-F238E27FC236}">
                      <a16:creationId xmlns:a16="http://schemas.microsoft.com/office/drawing/2014/main" id="{93C6D4B8-28E4-A61E-1A76-6094CAA468EB}"/>
                    </a:ext>
                  </a:extLst>
                </p:cNvPr>
                <p:cNvCxnSpPr>
                  <a:cxnSpLocks/>
                  <a:stCxn id="4171" idx="5"/>
                  <a:endCxn id="4173"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80" name="Straight Connector 4179">
                  <a:extLst>
                    <a:ext uri="{FF2B5EF4-FFF2-40B4-BE49-F238E27FC236}">
                      <a16:creationId xmlns:a16="http://schemas.microsoft.com/office/drawing/2014/main" id="{9E07CFB1-B31C-2218-4964-810B66477FED}"/>
                    </a:ext>
                  </a:extLst>
                </p:cNvPr>
                <p:cNvCxnSpPr>
                  <a:cxnSpLocks/>
                  <a:stCxn id="4171" idx="7"/>
                  <a:endCxn id="4174"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81" name="Straight Connector 4180">
                  <a:extLst>
                    <a:ext uri="{FF2B5EF4-FFF2-40B4-BE49-F238E27FC236}">
                      <a16:creationId xmlns:a16="http://schemas.microsoft.com/office/drawing/2014/main" id="{DFC29CB8-1AE3-14B0-DF02-9B7C48EE7A7D}"/>
                    </a:ext>
                  </a:extLst>
                </p:cNvPr>
                <p:cNvCxnSpPr>
                  <a:cxnSpLocks/>
                  <a:stCxn id="4175" idx="0"/>
                  <a:endCxn id="4171"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82" name="Straight Connector 4181">
                  <a:extLst>
                    <a:ext uri="{FF2B5EF4-FFF2-40B4-BE49-F238E27FC236}">
                      <a16:creationId xmlns:a16="http://schemas.microsoft.com/office/drawing/2014/main" id="{57A65772-371E-845A-9E95-FED5C68CC0CB}"/>
                    </a:ext>
                  </a:extLst>
                </p:cNvPr>
                <p:cNvCxnSpPr>
                  <a:cxnSpLocks/>
                  <a:stCxn id="4177" idx="0"/>
                  <a:endCxn id="4171"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83" name="Straight Connector 4182">
                  <a:extLst>
                    <a:ext uri="{FF2B5EF4-FFF2-40B4-BE49-F238E27FC236}">
                      <a16:creationId xmlns:a16="http://schemas.microsoft.com/office/drawing/2014/main" id="{843881D5-87B4-DC0B-2684-638B7C1E1F19}"/>
                    </a:ext>
                  </a:extLst>
                </p:cNvPr>
                <p:cNvCxnSpPr>
                  <a:cxnSpLocks/>
                  <a:stCxn id="4176" idx="6"/>
                  <a:endCxn id="4171"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0ABA2634-DBE4-696F-EE76-5C725797287D}"/>
                  </a:ext>
                </a:extLst>
              </p:cNvPr>
              <p:cNvGrpSpPr/>
              <p:nvPr/>
            </p:nvGrpSpPr>
            <p:grpSpPr>
              <a:xfrm>
                <a:off x="7279526" y="2595625"/>
                <a:ext cx="530720" cy="591576"/>
                <a:chOff x="840378" y="2203269"/>
                <a:chExt cx="529407" cy="590111"/>
              </a:xfrm>
              <a:solidFill>
                <a:schemeClr val="accent2"/>
              </a:solidFill>
            </p:grpSpPr>
            <p:sp>
              <p:nvSpPr>
                <p:cNvPr id="6334" name="Oval 6333">
                  <a:extLst>
                    <a:ext uri="{FF2B5EF4-FFF2-40B4-BE49-F238E27FC236}">
                      <a16:creationId xmlns:a16="http://schemas.microsoft.com/office/drawing/2014/main" id="{A2029B8E-4435-7DB9-B9FB-11C848B262F3}"/>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35" name="Oval 6334">
                  <a:extLst>
                    <a:ext uri="{FF2B5EF4-FFF2-40B4-BE49-F238E27FC236}">
                      <a16:creationId xmlns:a16="http://schemas.microsoft.com/office/drawing/2014/main" id="{8496DB12-677E-4B10-6186-DD0FAC985E3E}"/>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60" name="Oval 4159">
                  <a:extLst>
                    <a:ext uri="{FF2B5EF4-FFF2-40B4-BE49-F238E27FC236}">
                      <a16:creationId xmlns:a16="http://schemas.microsoft.com/office/drawing/2014/main" id="{D951C8D2-4D38-C8AB-55AE-536EBA42CAFC}"/>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61" name="Oval 4160">
                  <a:extLst>
                    <a:ext uri="{FF2B5EF4-FFF2-40B4-BE49-F238E27FC236}">
                      <a16:creationId xmlns:a16="http://schemas.microsoft.com/office/drawing/2014/main" id="{4CEE512F-B86C-FF98-91BE-9577B6E1FAAE}"/>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62" name="Oval 4161">
                  <a:extLst>
                    <a:ext uri="{FF2B5EF4-FFF2-40B4-BE49-F238E27FC236}">
                      <a16:creationId xmlns:a16="http://schemas.microsoft.com/office/drawing/2014/main" id="{D5168B58-A780-C9E0-A890-4DCC95EB6414}"/>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63" name="Oval 4162">
                  <a:extLst>
                    <a:ext uri="{FF2B5EF4-FFF2-40B4-BE49-F238E27FC236}">
                      <a16:creationId xmlns:a16="http://schemas.microsoft.com/office/drawing/2014/main" id="{1B3C02A1-A83E-8110-A146-02F01FDA8224}"/>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164" name="Oval 4163">
                  <a:extLst>
                    <a:ext uri="{FF2B5EF4-FFF2-40B4-BE49-F238E27FC236}">
                      <a16:creationId xmlns:a16="http://schemas.microsoft.com/office/drawing/2014/main" id="{3ACD0399-77FE-DA8D-F911-F9BBC9D8A31A}"/>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4165" name="Straight Connector 4164">
                  <a:extLst>
                    <a:ext uri="{FF2B5EF4-FFF2-40B4-BE49-F238E27FC236}">
                      <a16:creationId xmlns:a16="http://schemas.microsoft.com/office/drawing/2014/main" id="{4A6D451A-CFA4-2DD5-7096-E28CDE34ADA4}"/>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66" name="Straight Connector 4165">
                  <a:extLst>
                    <a:ext uri="{FF2B5EF4-FFF2-40B4-BE49-F238E27FC236}">
                      <a16:creationId xmlns:a16="http://schemas.microsoft.com/office/drawing/2014/main" id="{52FB68DD-14A3-DC30-A815-D42EE0A4796B}"/>
                    </a:ext>
                  </a:extLst>
                </p:cNvPr>
                <p:cNvCxnSpPr>
                  <a:cxnSpLocks/>
                  <a:stCxn id="6334" idx="5"/>
                  <a:endCxn id="4160"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67" name="Straight Connector 4166">
                  <a:extLst>
                    <a:ext uri="{FF2B5EF4-FFF2-40B4-BE49-F238E27FC236}">
                      <a16:creationId xmlns:a16="http://schemas.microsoft.com/office/drawing/2014/main" id="{D04B0BC2-58D3-2E04-1D6C-1F7DAA68E673}"/>
                    </a:ext>
                  </a:extLst>
                </p:cNvPr>
                <p:cNvCxnSpPr>
                  <a:cxnSpLocks/>
                  <a:stCxn id="6334" idx="7"/>
                  <a:endCxn id="4161"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68" name="Straight Connector 4167">
                  <a:extLst>
                    <a:ext uri="{FF2B5EF4-FFF2-40B4-BE49-F238E27FC236}">
                      <a16:creationId xmlns:a16="http://schemas.microsoft.com/office/drawing/2014/main" id="{4653D6AF-75A0-419C-28A7-039CC8025C37}"/>
                    </a:ext>
                  </a:extLst>
                </p:cNvPr>
                <p:cNvCxnSpPr>
                  <a:cxnSpLocks/>
                  <a:stCxn id="4162" idx="0"/>
                  <a:endCxn id="6334"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69" name="Straight Connector 4168">
                  <a:extLst>
                    <a:ext uri="{FF2B5EF4-FFF2-40B4-BE49-F238E27FC236}">
                      <a16:creationId xmlns:a16="http://schemas.microsoft.com/office/drawing/2014/main" id="{28EEC8A3-7B5E-5EC7-8598-4F6C6A8669CD}"/>
                    </a:ext>
                  </a:extLst>
                </p:cNvPr>
                <p:cNvCxnSpPr>
                  <a:cxnSpLocks/>
                  <a:stCxn id="4164" idx="0"/>
                  <a:endCxn id="6334"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70" name="Straight Connector 4169">
                  <a:extLst>
                    <a:ext uri="{FF2B5EF4-FFF2-40B4-BE49-F238E27FC236}">
                      <a16:creationId xmlns:a16="http://schemas.microsoft.com/office/drawing/2014/main" id="{8558C091-B71B-7AB5-7DE3-A1DB4EABCDD6}"/>
                    </a:ext>
                  </a:extLst>
                </p:cNvPr>
                <p:cNvCxnSpPr>
                  <a:cxnSpLocks/>
                  <a:stCxn id="4163" idx="6"/>
                  <a:endCxn id="6334"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D853F48F-631E-FDD4-B146-3123F91791B2}"/>
                  </a:ext>
                </a:extLst>
              </p:cNvPr>
              <p:cNvGrpSpPr/>
              <p:nvPr/>
            </p:nvGrpSpPr>
            <p:grpSpPr>
              <a:xfrm>
                <a:off x="8003424" y="5057753"/>
                <a:ext cx="530720" cy="591576"/>
                <a:chOff x="840378" y="2203269"/>
                <a:chExt cx="529407" cy="590111"/>
              </a:xfrm>
              <a:solidFill>
                <a:schemeClr val="accent2"/>
              </a:solidFill>
            </p:grpSpPr>
            <p:sp>
              <p:nvSpPr>
                <p:cNvPr id="6321" name="Oval 6320">
                  <a:extLst>
                    <a:ext uri="{FF2B5EF4-FFF2-40B4-BE49-F238E27FC236}">
                      <a16:creationId xmlns:a16="http://schemas.microsoft.com/office/drawing/2014/main" id="{081A69F2-58C4-E949-E0C5-6AECEA7BC457}"/>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22" name="Oval 6321">
                  <a:extLst>
                    <a:ext uri="{FF2B5EF4-FFF2-40B4-BE49-F238E27FC236}">
                      <a16:creationId xmlns:a16="http://schemas.microsoft.com/office/drawing/2014/main" id="{E02B2647-0D23-C63B-9119-71828FCFFC6A}"/>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23" name="Oval 6322">
                  <a:extLst>
                    <a:ext uri="{FF2B5EF4-FFF2-40B4-BE49-F238E27FC236}">
                      <a16:creationId xmlns:a16="http://schemas.microsoft.com/office/drawing/2014/main" id="{1B30258A-4158-3AC8-986F-5331EFAEE422}"/>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24" name="Oval 6323">
                  <a:extLst>
                    <a:ext uri="{FF2B5EF4-FFF2-40B4-BE49-F238E27FC236}">
                      <a16:creationId xmlns:a16="http://schemas.microsoft.com/office/drawing/2014/main" id="{174EB84F-1664-C598-807A-1734493EEA7F}"/>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25" name="Oval 6324">
                  <a:extLst>
                    <a:ext uri="{FF2B5EF4-FFF2-40B4-BE49-F238E27FC236}">
                      <a16:creationId xmlns:a16="http://schemas.microsoft.com/office/drawing/2014/main" id="{3EF238D6-93CF-2467-C5A8-3BC4C4F1B6F4}"/>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26" name="Oval 6325">
                  <a:extLst>
                    <a:ext uri="{FF2B5EF4-FFF2-40B4-BE49-F238E27FC236}">
                      <a16:creationId xmlns:a16="http://schemas.microsoft.com/office/drawing/2014/main" id="{279F057C-0D33-F84C-3534-DF10161F565F}"/>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27" name="Oval 6326">
                  <a:extLst>
                    <a:ext uri="{FF2B5EF4-FFF2-40B4-BE49-F238E27FC236}">
                      <a16:creationId xmlns:a16="http://schemas.microsoft.com/office/drawing/2014/main" id="{CAB418A3-9DE6-4612-6DBD-36883F937D84}"/>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6328" name="Straight Connector 6327">
                  <a:extLst>
                    <a:ext uri="{FF2B5EF4-FFF2-40B4-BE49-F238E27FC236}">
                      <a16:creationId xmlns:a16="http://schemas.microsoft.com/office/drawing/2014/main" id="{0DF3647D-3F11-B2B2-2F10-C96A2813A54A}"/>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29" name="Straight Connector 6328">
                  <a:extLst>
                    <a:ext uri="{FF2B5EF4-FFF2-40B4-BE49-F238E27FC236}">
                      <a16:creationId xmlns:a16="http://schemas.microsoft.com/office/drawing/2014/main" id="{B26D880E-CAF9-E5F7-96F2-B467A0871144}"/>
                    </a:ext>
                  </a:extLst>
                </p:cNvPr>
                <p:cNvCxnSpPr>
                  <a:cxnSpLocks/>
                  <a:stCxn id="6321" idx="5"/>
                  <a:endCxn id="6323"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30" name="Straight Connector 6329">
                  <a:extLst>
                    <a:ext uri="{FF2B5EF4-FFF2-40B4-BE49-F238E27FC236}">
                      <a16:creationId xmlns:a16="http://schemas.microsoft.com/office/drawing/2014/main" id="{6423348F-44BE-DAA9-6F0E-BD21BA108A65}"/>
                    </a:ext>
                  </a:extLst>
                </p:cNvPr>
                <p:cNvCxnSpPr>
                  <a:cxnSpLocks/>
                  <a:stCxn id="6321" idx="7"/>
                  <a:endCxn id="6324"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31" name="Straight Connector 6330">
                  <a:extLst>
                    <a:ext uri="{FF2B5EF4-FFF2-40B4-BE49-F238E27FC236}">
                      <a16:creationId xmlns:a16="http://schemas.microsoft.com/office/drawing/2014/main" id="{5A3319FB-0A44-EA9A-CFF9-C24DD8123DD3}"/>
                    </a:ext>
                  </a:extLst>
                </p:cNvPr>
                <p:cNvCxnSpPr>
                  <a:cxnSpLocks/>
                  <a:stCxn id="6325" idx="0"/>
                  <a:endCxn id="6321"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32" name="Straight Connector 6331">
                  <a:extLst>
                    <a:ext uri="{FF2B5EF4-FFF2-40B4-BE49-F238E27FC236}">
                      <a16:creationId xmlns:a16="http://schemas.microsoft.com/office/drawing/2014/main" id="{9E9A2988-D1E4-F963-B365-4940C64CE386}"/>
                    </a:ext>
                  </a:extLst>
                </p:cNvPr>
                <p:cNvCxnSpPr>
                  <a:cxnSpLocks/>
                  <a:stCxn id="6327" idx="0"/>
                  <a:endCxn id="6321"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33" name="Straight Connector 6332">
                  <a:extLst>
                    <a:ext uri="{FF2B5EF4-FFF2-40B4-BE49-F238E27FC236}">
                      <a16:creationId xmlns:a16="http://schemas.microsoft.com/office/drawing/2014/main" id="{D2D88A7A-AB8E-0029-23AB-868E02C67FE7}"/>
                    </a:ext>
                  </a:extLst>
                </p:cNvPr>
                <p:cNvCxnSpPr>
                  <a:cxnSpLocks/>
                  <a:stCxn id="6326" idx="6"/>
                  <a:endCxn id="6321"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5EA92BF0-2534-39CC-3D79-44B3DA0042EE}"/>
                  </a:ext>
                </a:extLst>
              </p:cNvPr>
              <p:cNvGrpSpPr/>
              <p:nvPr/>
            </p:nvGrpSpPr>
            <p:grpSpPr>
              <a:xfrm>
                <a:off x="10552098" y="5027138"/>
                <a:ext cx="530720" cy="591576"/>
                <a:chOff x="840378" y="2203269"/>
                <a:chExt cx="529407" cy="590111"/>
              </a:xfrm>
              <a:solidFill>
                <a:schemeClr val="accent2"/>
              </a:solidFill>
            </p:grpSpPr>
            <p:sp>
              <p:nvSpPr>
                <p:cNvPr id="3195" name="Oval 3194">
                  <a:extLst>
                    <a:ext uri="{FF2B5EF4-FFF2-40B4-BE49-F238E27FC236}">
                      <a16:creationId xmlns:a16="http://schemas.microsoft.com/office/drawing/2014/main" id="{4EA2086D-7843-097E-C892-829C2455EED8}"/>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96" name="Oval 3195">
                  <a:extLst>
                    <a:ext uri="{FF2B5EF4-FFF2-40B4-BE49-F238E27FC236}">
                      <a16:creationId xmlns:a16="http://schemas.microsoft.com/office/drawing/2014/main" id="{8EDE2D4F-2C2E-C191-B672-AADFA9BAEA9A}"/>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97" name="Oval 3196">
                  <a:extLst>
                    <a:ext uri="{FF2B5EF4-FFF2-40B4-BE49-F238E27FC236}">
                      <a16:creationId xmlns:a16="http://schemas.microsoft.com/office/drawing/2014/main" id="{F604B5BF-4399-FCA1-2BFF-7DCEDFB73DCF}"/>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98" name="Oval 3197">
                  <a:extLst>
                    <a:ext uri="{FF2B5EF4-FFF2-40B4-BE49-F238E27FC236}">
                      <a16:creationId xmlns:a16="http://schemas.microsoft.com/office/drawing/2014/main" id="{9AB69941-CE9B-16C2-F90F-81A9D671A004}"/>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99" name="Oval 3198">
                  <a:extLst>
                    <a:ext uri="{FF2B5EF4-FFF2-40B4-BE49-F238E27FC236}">
                      <a16:creationId xmlns:a16="http://schemas.microsoft.com/office/drawing/2014/main" id="{DA8E858A-A65F-B121-9BDE-B211D3CFBA4A}"/>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13" name="Oval 6312">
                  <a:extLst>
                    <a:ext uri="{FF2B5EF4-FFF2-40B4-BE49-F238E27FC236}">
                      <a16:creationId xmlns:a16="http://schemas.microsoft.com/office/drawing/2014/main" id="{DF6883B3-74EE-36A5-18DB-2092F94CE5CA}"/>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314" name="Oval 6313">
                  <a:extLst>
                    <a:ext uri="{FF2B5EF4-FFF2-40B4-BE49-F238E27FC236}">
                      <a16:creationId xmlns:a16="http://schemas.microsoft.com/office/drawing/2014/main" id="{9BBE89A9-C022-F31A-5D71-8CEF7258159C}"/>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6315" name="Straight Connector 6314">
                  <a:extLst>
                    <a:ext uri="{FF2B5EF4-FFF2-40B4-BE49-F238E27FC236}">
                      <a16:creationId xmlns:a16="http://schemas.microsoft.com/office/drawing/2014/main" id="{1B5FB6F8-2C94-F9FF-BFAB-479C391F4003}"/>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16" name="Straight Connector 6315">
                  <a:extLst>
                    <a:ext uri="{FF2B5EF4-FFF2-40B4-BE49-F238E27FC236}">
                      <a16:creationId xmlns:a16="http://schemas.microsoft.com/office/drawing/2014/main" id="{5143747F-63A9-6C7F-2DD1-A0EC2DC14FB2}"/>
                    </a:ext>
                  </a:extLst>
                </p:cNvPr>
                <p:cNvCxnSpPr>
                  <a:cxnSpLocks/>
                  <a:stCxn id="3195" idx="5"/>
                  <a:endCxn id="3197"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17" name="Straight Connector 6316">
                  <a:extLst>
                    <a:ext uri="{FF2B5EF4-FFF2-40B4-BE49-F238E27FC236}">
                      <a16:creationId xmlns:a16="http://schemas.microsoft.com/office/drawing/2014/main" id="{DD996575-775D-0E93-DA8F-D27E34E81763}"/>
                    </a:ext>
                  </a:extLst>
                </p:cNvPr>
                <p:cNvCxnSpPr>
                  <a:cxnSpLocks/>
                  <a:stCxn id="3195" idx="7"/>
                  <a:endCxn id="3198"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18" name="Straight Connector 6317">
                  <a:extLst>
                    <a:ext uri="{FF2B5EF4-FFF2-40B4-BE49-F238E27FC236}">
                      <a16:creationId xmlns:a16="http://schemas.microsoft.com/office/drawing/2014/main" id="{395F3653-74EB-0DEB-513E-00D1FA4E74E5}"/>
                    </a:ext>
                  </a:extLst>
                </p:cNvPr>
                <p:cNvCxnSpPr>
                  <a:cxnSpLocks/>
                  <a:stCxn id="3199" idx="0"/>
                  <a:endCxn id="3195"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19" name="Straight Connector 6318">
                  <a:extLst>
                    <a:ext uri="{FF2B5EF4-FFF2-40B4-BE49-F238E27FC236}">
                      <a16:creationId xmlns:a16="http://schemas.microsoft.com/office/drawing/2014/main" id="{FE68EDCD-0284-5F8A-C087-E3CE2A5CDBE2}"/>
                    </a:ext>
                  </a:extLst>
                </p:cNvPr>
                <p:cNvCxnSpPr>
                  <a:cxnSpLocks/>
                  <a:stCxn id="6314" idx="0"/>
                  <a:endCxn id="3195"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20" name="Straight Connector 6319">
                  <a:extLst>
                    <a:ext uri="{FF2B5EF4-FFF2-40B4-BE49-F238E27FC236}">
                      <a16:creationId xmlns:a16="http://schemas.microsoft.com/office/drawing/2014/main" id="{1CC778EB-461B-830F-A2B7-5410CD682A3A}"/>
                    </a:ext>
                  </a:extLst>
                </p:cNvPr>
                <p:cNvCxnSpPr>
                  <a:cxnSpLocks/>
                  <a:stCxn id="6313" idx="6"/>
                  <a:endCxn id="3195"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633269D-06AC-B92E-8858-07E932586010}"/>
                  </a:ext>
                </a:extLst>
              </p:cNvPr>
              <p:cNvGrpSpPr/>
              <p:nvPr/>
            </p:nvGrpSpPr>
            <p:grpSpPr>
              <a:xfrm>
                <a:off x="8798335" y="2360938"/>
                <a:ext cx="530720" cy="591576"/>
                <a:chOff x="840378" y="2203269"/>
                <a:chExt cx="529407" cy="590111"/>
              </a:xfrm>
              <a:solidFill>
                <a:schemeClr val="accent2"/>
              </a:solidFill>
            </p:grpSpPr>
            <p:sp>
              <p:nvSpPr>
                <p:cNvPr id="3177" name="Oval 3176">
                  <a:extLst>
                    <a:ext uri="{FF2B5EF4-FFF2-40B4-BE49-F238E27FC236}">
                      <a16:creationId xmlns:a16="http://schemas.microsoft.com/office/drawing/2014/main" id="{D35F6342-8DF9-5F89-758A-A6A92E5D557B}"/>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79" name="Oval 3178">
                  <a:extLst>
                    <a:ext uri="{FF2B5EF4-FFF2-40B4-BE49-F238E27FC236}">
                      <a16:creationId xmlns:a16="http://schemas.microsoft.com/office/drawing/2014/main" id="{CD8710E8-0350-8EFA-1A51-8742D656D80C}"/>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84" name="Oval 3183">
                  <a:extLst>
                    <a:ext uri="{FF2B5EF4-FFF2-40B4-BE49-F238E27FC236}">
                      <a16:creationId xmlns:a16="http://schemas.microsoft.com/office/drawing/2014/main" id="{6D5C9DE1-217A-9B35-FFE6-A89D5D8DB28B}"/>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85" name="Oval 3184">
                  <a:extLst>
                    <a:ext uri="{FF2B5EF4-FFF2-40B4-BE49-F238E27FC236}">
                      <a16:creationId xmlns:a16="http://schemas.microsoft.com/office/drawing/2014/main" id="{B85AD0BA-97CE-9324-24FB-35BFBD9ED38D}"/>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86" name="Oval 3185">
                  <a:extLst>
                    <a:ext uri="{FF2B5EF4-FFF2-40B4-BE49-F238E27FC236}">
                      <a16:creationId xmlns:a16="http://schemas.microsoft.com/office/drawing/2014/main" id="{153860A7-83C1-2438-BD5D-5BA6E4672C3D}"/>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87" name="Oval 3186">
                  <a:extLst>
                    <a:ext uri="{FF2B5EF4-FFF2-40B4-BE49-F238E27FC236}">
                      <a16:creationId xmlns:a16="http://schemas.microsoft.com/office/drawing/2014/main" id="{EE83A267-1B83-FD10-EDF9-10E533E5F101}"/>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88" name="Oval 3187">
                  <a:extLst>
                    <a:ext uri="{FF2B5EF4-FFF2-40B4-BE49-F238E27FC236}">
                      <a16:creationId xmlns:a16="http://schemas.microsoft.com/office/drawing/2014/main" id="{AD70523D-8E14-887F-42F7-247F5AD0482B}"/>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3189" name="Straight Connector 3188">
                  <a:extLst>
                    <a:ext uri="{FF2B5EF4-FFF2-40B4-BE49-F238E27FC236}">
                      <a16:creationId xmlns:a16="http://schemas.microsoft.com/office/drawing/2014/main" id="{4CB5F557-4E6F-F762-D9DC-712675E9AD34}"/>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90" name="Straight Connector 3189">
                  <a:extLst>
                    <a:ext uri="{FF2B5EF4-FFF2-40B4-BE49-F238E27FC236}">
                      <a16:creationId xmlns:a16="http://schemas.microsoft.com/office/drawing/2014/main" id="{57BB8425-7CEA-74DD-B201-29D7EF8E2886}"/>
                    </a:ext>
                  </a:extLst>
                </p:cNvPr>
                <p:cNvCxnSpPr>
                  <a:cxnSpLocks/>
                  <a:stCxn id="3177" idx="5"/>
                  <a:endCxn id="3184"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91" name="Straight Connector 3190">
                  <a:extLst>
                    <a:ext uri="{FF2B5EF4-FFF2-40B4-BE49-F238E27FC236}">
                      <a16:creationId xmlns:a16="http://schemas.microsoft.com/office/drawing/2014/main" id="{70474C88-B4FF-830A-7F1A-06359F571F01}"/>
                    </a:ext>
                  </a:extLst>
                </p:cNvPr>
                <p:cNvCxnSpPr>
                  <a:cxnSpLocks/>
                  <a:stCxn id="3177" idx="7"/>
                  <a:endCxn id="3185"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92" name="Straight Connector 3191">
                  <a:extLst>
                    <a:ext uri="{FF2B5EF4-FFF2-40B4-BE49-F238E27FC236}">
                      <a16:creationId xmlns:a16="http://schemas.microsoft.com/office/drawing/2014/main" id="{2BA018C7-19F5-9CA0-45D5-31D8F3FC09C4}"/>
                    </a:ext>
                  </a:extLst>
                </p:cNvPr>
                <p:cNvCxnSpPr>
                  <a:cxnSpLocks/>
                  <a:stCxn id="3186" idx="0"/>
                  <a:endCxn id="3177"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93" name="Straight Connector 3192">
                  <a:extLst>
                    <a:ext uri="{FF2B5EF4-FFF2-40B4-BE49-F238E27FC236}">
                      <a16:creationId xmlns:a16="http://schemas.microsoft.com/office/drawing/2014/main" id="{1C39CE67-7C0D-90DA-9A72-5D2BAD4F9D7C}"/>
                    </a:ext>
                  </a:extLst>
                </p:cNvPr>
                <p:cNvCxnSpPr>
                  <a:cxnSpLocks/>
                  <a:stCxn id="3188" idx="0"/>
                  <a:endCxn id="3177"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94" name="Straight Connector 3193">
                  <a:extLst>
                    <a:ext uri="{FF2B5EF4-FFF2-40B4-BE49-F238E27FC236}">
                      <a16:creationId xmlns:a16="http://schemas.microsoft.com/office/drawing/2014/main" id="{46F65380-8531-F7EB-0CE1-C60EB92CCCFC}"/>
                    </a:ext>
                  </a:extLst>
                </p:cNvPr>
                <p:cNvCxnSpPr>
                  <a:cxnSpLocks/>
                  <a:stCxn id="3187" idx="6"/>
                  <a:endCxn id="3177"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5BD30CCF-6302-50F7-6B6D-ECEF754E54CE}"/>
                  </a:ext>
                </a:extLst>
              </p:cNvPr>
              <p:cNvGrpSpPr/>
              <p:nvPr/>
            </p:nvGrpSpPr>
            <p:grpSpPr>
              <a:xfrm>
                <a:off x="10445518" y="3199207"/>
                <a:ext cx="530720" cy="591576"/>
                <a:chOff x="840378" y="2203269"/>
                <a:chExt cx="529407" cy="590111"/>
              </a:xfrm>
              <a:solidFill>
                <a:schemeClr val="accent2"/>
              </a:solidFill>
            </p:grpSpPr>
            <p:sp>
              <p:nvSpPr>
                <p:cNvPr id="2763" name="Oval 2762">
                  <a:extLst>
                    <a:ext uri="{FF2B5EF4-FFF2-40B4-BE49-F238E27FC236}">
                      <a16:creationId xmlns:a16="http://schemas.microsoft.com/office/drawing/2014/main" id="{22AB45BB-B86F-3383-2061-6A4F2DEADF60}"/>
                    </a:ext>
                  </a:extLst>
                </p:cNvPr>
                <p:cNvSpPr/>
                <p:nvPr/>
              </p:nvSpPr>
              <p:spPr>
                <a:xfrm flipV="1">
                  <a:off x="1051601" y="2427749"/>
                  <a:ext cx="159160" cy="137794"/>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764" name="Oval 2763">
                  <a:extLst>
                    <a:ext uri="{FF2B5EF4-FFF2-40B4-BE49-F238E27FC236}">
                      <a16:creationId xmlns:a16="http://schemas.microsoft.com/office/drawing/2014/main" id="{16E568C5-F397-A9F1-CDBC-FD42A885C48C}"/>
                    </a:ext>
                  </a:extLst>
                </p:cNvPr>
                <p:cNvSpPr/>
                <p:nvPr/>
              </p:nvSpPr>
              <p:spPr>
                <a:xfrm>
                  <a:off x="1018903" y="22032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5888" name="Oval 5887">
                  <a:extLst>
                    <a:ext uri="{FF2B5EF4-FFF2-40B4-BE49-F238E27FC236}">
                      <a16:creationId xmlns:a16="http://schemas.microsoft.com/office/drawing/2014/main" id="{56997061-216D-1FD2-078D-A3E3C8DFC043}"/>
                    </a:ext>
                  </a:extLst>
                </p:cNvPr>
                <p:cNvSpPr/>
                <p:nvPr/>
              </p:nvSpPr>
              <p:spPr>
                <a:xfrm>
                  <a:off x="1262742" y="2287731"/>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5889" name="Oval 5888">
                  <a:extLst>
                    <a:ext uri="{FF2B5EF4-FFF2-40B4-BE49-F238E27FC236}">
                      <a16:creationId xmlns:a16="http://schemas.microsoft.com/office/drawing/2014/main" id="{BF99D2E0-9D6B-D118-BB89-9826C0DA2344}"/>
                    </a:ext>
                  </a:extLst>
                </p:cNvPr>
                <p:cNvSpPr/>
                <p:nvPr/>
              </p:nvSpPr>
              <p:spPr>
                <a:xfrm>
                  <a:off x="1293814" y="2616975"/>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68" name="Oval 3167">
                  <a:extLst>
                    <a:ext uri="{FF2B5EF4-FFF2-40B4-BE49-F238E27FC236}">
                      <a16:creationId xmlns:a16="http://schemas.microsoft.com/office/drawing/2014/main" id="{660ED179-E736-5079-C963-D0BE4F9D1726}"/>
                    </a:ext>
                  </a:extLst>
                </p:cNvPr>
                <p:cNvSpPr/>
                <p:nvPr/>
              </p:nvSpPr>
              <p:spPr>
                <a:xfrm>
                  <a:off x="1056888" y="2721618"/>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69" name="Oval 3168">
                  <a:extLst>
                    <a:ext uri="{FF2B5EF4-FFF2-40B4-BE49-F238E27FC236}">
                      <a16:creationId xmlns:a16="http://schemas.microsoft.com/office/drawing/2014/main" id="{095BA9F9-0E6B-39B5-DA64-67E177AA0714}"/>
                    </a:ext>
                  </a:extLst>
                </p:cNvPr>
                <p:cNvSpPr/>
                <p:nvPr/>
              </p:nvSpPr>
              <p:spPr>
                <a:xfrm>
                  <a:off x="840378" y="2356770"/>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70" name="Oval 3169">
                  <a:extLst>
                    <a:ext uri="{FF2B5EF4-FFF2-40B4-BE49-F238E27FC236}">
                      <a16:creationId xmlns:a16="http://schemas.microsoft.com/office/drawing/2014/main" id="{DE68EB87-DED8-E577-097C-6036BDEA6399}"/>
                    </a:ext>
                  </a:extLst>
                </p:cNvPr>
                <p:cNvSpPr/>
                <p:nvPr/>
              </p:nvSpPr>
              <p:spPr>
                <a:xfrm>
                  <a:off x="895078" y="2546169"/>
                  <a:ext cx="75971" cy="71762"/>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3171" name="Straight Connector 3170">
                  <a:extLst>
                    <a:ext uri="{FF2B5EF4-FFF2-40B4-BE49-F238E27FC236}">
                      <a16:creationId xmlns:a16="http://schemas.microsoft.com/office/drawing/2014/main" id="{384E5214-1C64-72B3-1A9C-B2DD1BCFA435}"/>
                    </a:ext>
                  </a:extLst>
                </p:cNvPr>
                <p:cNvCxnSpPr/>
                <p:nvPr/>
              </p:nvCxnSpPr>
              <p:spPr>
                <a:xfrm>
                  <a:off x="1045873" y="2239150"/>
                  <a:ext cx="56006" cy="20877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72" name="Straight Connector 3171">
                  <a:extLst>
                    <a:ext uri="{FF2B5EF4-FFF2-40B4-BE49-F238E27FC236}">
                      <a16:creationId xmlns:a16="http://schemas.microsoft.com/office/drawing/2014/main" id="{DCC2B2B3-B0A8-A0F0-AFC1-F9AC64C1A12F}"/>
                    </a:ext>
                  </a:extLst>
                </p:cNvPr>
                <p:cNvCxnSpPr>
                  <a:cxnSpLocks/>
                  <a:stCxn id="2763" idx="5"/>
                  <a:endCxn id="5888" idx="7"/>
                </p:cNvCxnSpPr>
                <p:nvPr/>
              </p:nvCxnSpPr>
              <p:spPr>
                <a:xfrm flipV="1">
                  <a:off x="1187453" y="2298240"/>
                  <a:ext cx="140134" cy="149688"/>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73" name="Straight Connector 3172">
                  <a:extLst>
                    <a:ext uri="{FF2B5EF4-FFF2-40B4-BE49-F238E27FC236}">
                      <a16:creationId xmlns:a16="http://schemas.microsoft.com/office/drawing/2014/main" id="{7A7D54EF-A9E5-6B3B-941F-449ED6A3CE6E}"/>
                    </a:ext>
                  </a:extLst>
                </p:cNvPr>
                <p:cNvCxnSpPr>
                  <a:cxnSpLocks/>
                  <a:stCxn id="2763" idx="7"/>
                  <a:endCxn id="5889" idx="2"/>
                </p:cNvCxnSpPr>
                <p:nvPr/>
              </p:nvCxnSpPr>
              <p:spPr>
                <a:xfrm>
                  <a:off x="1187453" y="2545364"/>
                  <a:ext cx="106361" cy="107492"/>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74" name="Straight Connector 3173">
                  <a:extLst>
                    <a:ext uri="{FF2B5EF4-FFF2-40B4-BE49-F238E27FC236}">
                      <a16:creationId xmlns:a16="http://schemas.microsoft.com/office/drawing/2014/main" id="{DE1EDCA5-C55E-7F55-48BC-C1991FAE068F}"/>
                    </a:ext>
                  </a:extLst>
                </p:cNvPr>
                <p:cNvCxnSpPr>
                  <a:cxnSpLocks/>
                  <a:stCxn id="3168" idx="0"/>
                  <a:endCxn id="2763" idx="0"/>
                </p:cNvCxnSpPr>
                <p:nvPr/>
              </p:nvCxnSpPr>
              <p:spPr>
                <a:xfrm flipV="1">
                  <a:off x="1094874" y="2565543"/>
                  <a:ext cx="36307" cy="15607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75" name="Straight Connector 3174">
                  <a:extLst>
                    <a:ext uri="{FF2B5EF4-FFF2-40B4-BE49-F238E27FC236}">
                      <a16:creationId xmlns:a16="http://schemas.microsoft.com/office/drawing/2014/main" id="{2ADC05C2-3A7B-FA10-157C-4BCA4791DDCF}"/>
                    </a:ext>
                  </a:extLst>
                </p:cNvPr>
                <p:cNvCxnSpPr>
                  <a:cxnSpLocks/>
                  <a:stCxn id="3170" idx="0"/>
                  <a:endCxn id="2763" idx="3"/>
                </p:cNvCxnSpPr>
                <p:nvPr/>
              </p:nvCxnSpPr>
              <p:spPr>
                <a:xfrm flipV="1">
                  <a:off x="933064" y="2447928"/>
                  <a:ext cx="141845" cy="98241"/>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76" name="Straight Connector 3175">
                  <a:extLst>
                    <a:ext uri="{FF2B5EF4-FFF2-40B4-BE49-F238E27FC236}">
                      <a16:creationId xmlns:a16="http://schemas.microsoft.com/office/drawing/2014/main" id="{38E66B40-0FD0-383D-2877-6CD6EC6F5327}"/>
                    </a:ext>
                  </a:extLst>
                </p:cNvPr>
                <p:cNvCxnSpPr>
                  <a:cxnSpLocks/>
                  <a:stCxn id="3169" idx="6"/>
                  <a:endCxn id="2763" idx="3"/>
                </p:cNvCxnSpPr>
                <p:nvPr/>
              </p:nvCxnSpPr>
              <p:spPr>
                <a:xfrm>
                  <a:off x="916349" y="2392651"/>
                  <a:ext cx="158560" cy="55277"/>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41" name="Straight Connector 40">
                <a:extLst>
                  <a:ext uri="{FF2B5EF4-FFF2-40B4-BE49-F238E27FC236}">
                    <a16:creationId xmlns:a16="http://schemas.microsoft.com/office/drawing/2014/main" id="{D99DD35B-0BE3-00D5-9819-CFE21142FAEF}"/>
                  </a:ext>
                </a:extLst>
              </p:cNvPr>
              <p:cNvCxnSpPr>
                <a:cxnSpLocks/>
                <a:stCxn id="7129" idx="7"/>
                <a:endCxn id="7142" idx="0"/>
              </p:cNvCxnSpPr>
              <p:nvPr/>
            </p:nvCxnSpPr>
            <p:spPr>
              <a:xfrm>
                <a:off x="5215326" y="2703464"/>
                <a:ext cx="212159" cy="747709"/>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E5C2459-427F-DFF2-F756-01525E46BC3F}"/>
                  </a:ext>
                </a:extLst>
              </p:cNvPr>
              <p:cNvCxnSpPr>
                <a:cxnSpLocks/>
                <a:stCxn id="7142" idx="0"/>
                <a:endCxn id="7116" idx="4"/>
              </p:cNvCxnSpPr>
              <p:nvPr/>
            </p:nvCxnSpPr>
            <p:spPr>
              <a:xfrm flipH="1">
                <a:off x="5363828" y="3451173"/>
                <a:ext cx="63657" cy="437111"/>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7F70DBC-8B8B-CFF8-956C-CC2008193546}"/>
                  </a:ext>
                </a:extLst>
              </p:cNvPr>
              <p:cNvCxnSpPr>
                <a:cxnSpLocks/>
                <a:stCxn id="7116" idx="4"/>
                <a:endCxn id="4171" idx="2"/>
              </p:cNvCxnSpPr>
              <p:nvPr/>
            </p:nvCxnSpPr>
            <p:spPr>
              <a:xfrm flipV="1">
                <a:off x="5363828" y="3390061"/>
                <a:ext cx="2162147" cy="498223"/>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CB0A444-3B44-14E0-E6BA-CE6C0E35EB60}"/>
                  </a:ext>
                </a:extLst>
              </p:cNvPr>
              <p:cNvCxnSpPr>
                <a:cxnSpLocks/>
                <a:stCxn id="4197" idx="3"/>
                <a:endCxn id="7598" idx="16"/>
              </p:cNvCxnSpPr>
              <p:nvPr/>
            </p:nvCxnSpPr>
            <p:spPr>
              <a:xfrm flipH="1" flipV="1">
                <a:off x="5475299" y="3865993"/>
                <a:ext cx="1037860" cy="825352"/>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01767D2-5039-4BDF-FD44-1B03782F1D78}"/>
                  </a:ext>
                </a:extLst>
              </p:cNvPr>
              <p:cNvCxnSpPr>
                <a:cxnSpLocks/>
                <a:stCxn id="4197" idx="4"/>
                <a:endCxn id="4184" idx="3"/>
              </p:cNvCxnSpPr>
              <p:nvPr/>
            </p:nvCxnSpPr>
            <p:spPr>
              <a:xfrm flipH="1">
                <a:off x="6138918" y="4671115"/>
                <a:ext cx="430652" cy="697355"/>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7EDE12-F8C9-AE80-2DDD-3E3C00739191}"/>
                  </a:ext>
                </a:extLst>
              </p:cNvPr>
              <p:cNvCxnSpPr>
                <a:cxnSpLocks/>
                <a:stCxn id="4184" idx="4"/>
                <a:endCxn id="2763" idx="2"/>
              </p:cNvCxnSpPr>
              <p:nvPr/>
            </p:nvCxnSpPr>
            <p:spPr>
              <a:xfrm flipV="1">
                <a:off x="6195329" y="3493308"/>
                <a:ext cx="4461820" cy="1854934"/>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F8FB06C-4248-5A58-7B4B-5D45103FE11C}"/>
                  </a:ext>
                </a:extLst>
              </p:cNvPr>
              <p:cNvCxnSpPr>
                <a:cxnSpLocks/>
                <a:stCxn id="2269" idx="57"/>
                <a:endCxn id="4171" idx="2"/>
              </p:cNvCxnSpPr>
              <p:nvPr/>
            </p:nvCxnSpPr>
            <p:spPr>
              <a:xfrm flipV="1">
                <a:off x="6573390" y="3390062"/>
                <a:ext cx="952585" cy="1163432"/>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F4185-B9C7-E698-6403-33549AA68286}"/>
                  </a:ext>
                </a:extLst>
              </p:cNvPr>
              <p:cNvCxnSpPr>
                <a:cxnSpLocks/>
                <a:stCxn id="6321" idx="5"/>
                <a:endCxn id="3177" idx="1"/>
              </p:cNvCxnSpPr>
              <p:nvPr/>
            </p:nvCxnSpPr>
            <p:spPr>
              <a:xfrm flipV="1">
                <a:off x="8351245" y="2703878"/>
                <a:ext cx="682087" cy="2599137"/>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5FA864C-472C-3DC5-3030-BC5220191890}"/>
                  </a:ext>
                </a:extLst>
              </p:cNvPr>
              <p:cNvCxnSpPr>
                <a:cxnSpLocks/>
                <a:stCxn id="2763" idx="3"/>
                <a:endCxn id="3177" idx="7"/>
              </p:cNvCxnSpPr>
              <p:nvPr/>
            </p:nvCxnSpPr>
            <p:spPr>
              <a:xfrm flipH="1" flipV="1">
                <a:off x="9146155" y="2703878"/>
                <a:ext cx="1534360" cy="740591"/>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609657-71CE-2F6C-677D-DE2E85D0A721}"/>
                  </a:ext>
                </a:extLst>
              </p:cNvPr>
              <p:cNvCxnSpPr>
                <a:cxnSpLocks/>
                <a:stCxn id="3195" idx="3"/>
                <a:endCxn id="2763" idx="0"/>
              </p:cNvCxnSpPr>
              <p:nvPr/>
            </p:nvCxnSpPr>
            <p:spPr>
              <a:xfrm flipH="1" flipV="1">
                <a:off x="10736927" y="3562375"/>
                <a:ext cx="50169" cy="1710025"/>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81A635D-9D93-61ED-F0DF-A4E0E7897F48}"/>
                  </a:ext>
                </a:extLst>
              </p:cNvPr>
              <p:cNvCxnSpPr>
                <a:cxnSpLocks/>
                <a:stCxn id="6321" idx="7"/>
                <a:endCxn id="3195" idx="3"/>
              </p:cNvCxnSpPr>
              <p:nvPr/>
            </p:nvCxnSpPr>
            <p:spPr>
              <a:xfrm flipV="1">
                <a:off x="8351245" y="5272400"/>
                <a:ext cx="2435851" cy="12829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C42D63D-A827-8CDE-B50D-3687D8E9A420}"/>
                  </a:ext>
                </a:extLst>
              </p:cNvPr>
              <p:cNvCxnSpPr>
                <a:cxnSpLocks/>
                <a:stCxn id="3177" idx="2"/>
                <a:endCxn id="6334" idx="6"/>
              </p:cNvCxnSpPr>
              <p:nvPr/>
            </p:nvCxnSpPr>
            <p:spPr>
              <a:xfrm flipH="1">
                <a:off x="7650713" y="2655038"/>
                <a:ext cx="1359254" cy="234687"/>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2" name="Straight Connector 2751">
                <a:extLst>
                  <a:ext uri="{FF2B5EF4-FFF2-40B4-BE49-F238E27FC236}">
                    <a16:creationId xmlns:a16="http://schemas.microsoft.com/office/drawing/2014/main" id="{4F222D5C-E673-584B-5CAC-573B696676F5}"/>
                  </a:ext>
                </a:extLst>
              </p:cNvPr>
              <p:cNvCxnSpPr>
                <a:cxnSpLocks/>
                <a:stCxn id="4171" idx="5"/>
                <a:endCxn id="6334" idx="1"/>
              </p:cNvCxnSpPr>
              <p:nvPr/>
            </p:nvCxnSpPr>
            <p:spPr>
              <a:xfrm flipH="1" flipV="1">
                <a:off x="7514524" y="2938564"/>
                <a:ext cx="147640" cy="402659"/>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3" name="Straight Connector 2752">
                <a:extLst>
                  <a:ext uri="{FF2B5EF4-FFF2-40B4-BE49-F238E27FC236}">
                    <a16:creationId xmlns:a16="http://schemas.microsoft.com/office/drawing/2014/main" id="{1FF946FB-95A9-32C9-14A5-893818A00F41}"/>
                  </a:ext>
                </a:extLst>
              </p:cNvPr>
              <p:cNvCxnSpPr/>
              <p:nvPr/>
            </p:nvCxnSpPr>
            <p:spPr>
              <a:xfrm>
                <a:off x="5196062" y="2659033"/>
                <a:ext cx="2334014" cy="637759"/>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4" name="Straight Connector 2753">
                <a:extLst>
                  <a:ext uri="{FF2B5EF4-FFF2-40B4-BE49-F238E27FC236}">
                    <a16:creationId xmlns:a16="http://schemas.microsoft.com/office/drawing/2014/main" id="{789B37D6-79A8-EBD1-52F7-0D4B4E9B47FB}"/>
                  </a:ext>
                </a:extLst>
              </p:cNvPr>
              <p:cNvCxnSpPr>
                <a:cxnSpLocks/>
                <a:stCxn id="7129" idx="6"/>
                <a:endCxn id="6334" idx="2"/>
              </p:cNvCxnSpPr>
              <p:nvPr/>
            </p:nvCxnSpPr>
            <p:spPr>
              <a:xfrm>
                <a:off x="5238692" y="2654625"/>
                <a:ext cx="2252466" cy="23510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5" name="Straight Connector 2754">
                <a:extLst>
                  <a:ext uri="{FF2B5EF4-FFF2-40B4-BE49-F238E27FC236}">
                    <a16:creationId xmlns:a16="http://schemas.microsoft.com/office/drawing/2014/main" id="{77516444-391C-51EB-13A0-2F2FCD949453}"/>
                  </a:ext>
                </a:extLst>
              </p:cNvPr>
              <p:cNvCxnSpPr>
                <a:cxnSpLocks/>
                <a:stCxn id="7142" idx="6"/>
                <a:endCxn id="4171" idx="2"/>
              </p:cNvCxnSpPr>
              <p:nvPr/>
            </p:nvCxnSpPr>
            <p:spPr>
              <a:xfrm>
                <a:off x="5507263" y="3382105"/>
                <a:ext cx="2018712" cy="7957"/>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6" name="Straight Connector 2755">
                <a:extLst>
                  <a:ext uri="{FF2B5EF4-FFF2-40B4-BE49-F238E27FC236}">
                    <a16:creationId xmlns:a16="http://schemas.microsoft.com/office/drawing/2014/main" id="{FF663DE8-8AFF-3714-70A6-CB673ABCAAEA}"/>
                  </a:ext>
                </a:extLst>
              </p:cNvPr>
              <p:cNvCxnSpPr>
                <a:cxnSpLocks/>
                <a:stCxn id="4171" idx="5"/>
                <a:endCxn id="3177" idx="1"/>
              </p:cNvCxnSpPr>
              <p:nvPr/>
            </p:nvCxnSpPr>
            <p:spPr>
              <a:xfrm flipV="1">
                <a:off x="7662164" y="2703877"/>
                <a:ext cx="1371168" cy="637346"/>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7" name="Straight Connector 2756">
                <a:extLst>
                  <a:ext uri="{FF2B5EF4-FFF2-40B4-BE49-F238E27FC236}">
                    <a16:creationId xmlns:a16="http://schemas.microsoft.com/office/drawing/2014/main" id="{2227E2B7-DBFA-A0F4-222D-FA393D4AFE5D}"/>
                  </a:ext>
                </a:extLst>
              </p:cNvPr>
              <p:cNvCxnSpPr>
                <a:cxnSpLocks/>
                <a:stCxn id="2763" idx="2"/>
                <a:endCxn id="2284" idx="12"/>
              </p:cNvCxnSpPr>
              <p:nvPr/>
            </p:nvCxnSpPr>
            <p:spPr>
              <a:xfrm flipH="1" flipV="1">
                <a:off x="7674665" y="3420391"/>
                <a:ext cx="2982485" cy="7291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8" name="Straight Connector 2757">
                <a:extLst>
                  <a:ext uri="{FF2B5EF4-FFF2-40B4-BE49-F238E27FC236}">
                    <a16:creationId xmlns:a16="http://schemas.microsoft.com/office/drawing/2014/main" id="{21A832CC-BAAA-7E6D-658F-0D7515606D4D}"/>
                  </a:ext>
                </a:extLst>
              </p:cNvPr>
              <p:cNvCxnSpPr>
                <a:cxnSpLocks/>
                <a:endCxn id="6321" idx="3"/>
              </p:cNvCxnSpPr>
              <p:nvPr/>
            </p:nvCxnSpPr>
            <p:spPr>
              <a:xfrm>
                <a:off x="7616717" y="3439488"/>
                <a:ext cx="621704" cy="1863526"/>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59" name="Straight Connector 2758">
                <a:extLst>
                  <a:ext uri="{FF2B5EF4-FFF2-40B4-BE49-F238E27FC236}">
                    <a16:creationId xmlns:a16="http://schemas.microsoft.com/office/drawing/2014/main" id="{8A7876ED-32CF-DA4B-4815-63AADFB5417B}"/>
                  </a:ext>
                </a:extLst>
              </p:cNvPr>
              <p:cNvCxnSpPr>
                <a:cxnSpLocks/>
                <a:endCxn id="4174" idx="0"/>
              </p:cNvCxnSpPr>
              <p:nvPr/>
            </p:nvCxnSpPr>
            <p:spPr>
              <a:xfrm flipH="1" flipV="1">
                <a:off x="7806868" y="3510689"/>
                <a:ext cx="2817192" cy="165710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760" name="Straight Connector 2759">
                <a:extLst>
                  <a:ext uri="{FF2B5EF4-FFF2-40B4-BE49-F238E27FC236}">
                    <a16:creationId xmlns:a16="http://schemas.microsoft.com/office/drawing/2014/main" id="{38CD6A9A-9784-8A1B-063A-2995E451092A}"/>
                  </a:ext>
                </a:extLst>
              </p:cNvPr>
              <p:cNvCxnSpPr/>
              <p:nvPr/>
            </p:nvCxnSpPr>
            <p:spPr>
              <a:xfrm flipV="1">
                <a:off x="7658325" y="3105287"/>
                <a:ext cx="243650" cy="273726"/>
              </a:xfrm>
              <a:prstGeom prst="line">
                <a:avLst/>
              </a:prstGeom>
              <a:ln w="12700">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2761" name="Oval 2760">
                <a:extLst>
                  <a:ext uri="{FF2B5EF4-FFF2-40B4-BE49-F238E27FC236}">
                    <a16:creationId xmlns:a16="http://schemas.microsoft.com/office/drawing/2014/main" id="{00C1257F-B836-D77D-7F79-141A922C9B4E}"/>
                  </a:ext>
                </a:extLst>
              </p:cNvPr>
              <p:cNvSpPr/>
              <p:nvPr/>
            </p:nvSpPr>
            <p:spPr>
              <a:xfrm flipV="1">
                <a:off x="7878161" y="2947730"/>
                <a:ext cx="159555" cy="13813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6686" rtl="0" eaLnBrk="1" fontAlgn="auto" latinLnBrk="0" hangingPunct="1">
                  <a:lnSpc>
                    <a:spcPct val="100000"/>
                  </a:lnSpc>
                  <a:spcBef>
                    <a:spcPts val="0"/>
                  </a:spcBef>
                  <a:spcAft>
                    <a:spcPts val="0"/>
                  </a:spcAft>
                  <a:buClrTx/>
                  <a:buSzTx/>
                  <a:buFontTx/>
                  <a:buNone/>
                  <a:tabLst/>
                  <a:defRPr/>
                </a:pPr>
                <a:endParaRPr kumimoji="0" lang="es-ES_tradnl" sz="1805"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2762" name="Straight Connector 2761">
                <a:extLst>
                  <a:ext uri="{FF2B5EF4-FFF2-40B4-BE49-F238E27FC236}">
                    <a16:creationId xmlns:a16="http://schemas.microsoft.com/office/drawing/2014/main" id="{16EB7015-13A3-A234-2EAE-2B5056735DF5}"/>
                  </a:ext>
                </a:extLst>
              </p:cNvPr>
              <p:cNvCxnSpPr>
                <a:cxnSpLocks/>
                <a:stCxn id="7129" idx="7"/>
                <a:endCxn id="2761" idx="2"/>
              </p:cNvCxnSpPr>
              <p:nvPr/>
            </p:nvCxnSpPr>
            <p:spPr>
              <a:xfrm>
                <a:off x="5215327" y="2703464"/>
                <a:ext cx="2662834" cy="313334"/>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A14A6942-043B-3A3F-3B6A-DD467DF9E0F5}"/>
                </a:ext>
              </a:extLst>
            </p:cNvPr>
            <p:cNvPicPr>
              <a:picLocks noChangeAspect="1"/>
            </p:cNvPicPr>
            <p:nvPr/>
          </p:nvPicPr>
          <p:blipFill>
            <a:blip r:embed="rId10"/>
            <a:stretch>
              <a:fillRect/>
            </a:stretch>
          </p:blipFill>
          <p:spPr>
            <a:xfrm>
              <a:off x="1342580" y="2939018"/>
              <a:ext cx="203408" cy="203408"/>
            </a:xfrm>
            <a:prstGeom prst="rect">
              <a:avLst/>
            </a:prstGeom>
          </p:spPr>
        </p:pic>
        <p:pic>
          <p:nvPicPr>
            <p:cNvPr id="8" name="Picture 7">
              <a:extLst>
                <a:ext uri="{FF2B5EF4-FFF2-40B4-BE49-F238E27FC236}">
                  <a16:creationId xmlns:a16="http://schemas.microsoft.com/office/drawing/2014/main" id="{DD2A2C1F-0D86-CDE0-ABCD-D939308D2903}"/>
                </a:ext>
              </a:extLst>
            </p:cNvPr>
            <p:cNvPicPr>
              <a:picLocks noChangeAspect="1"/>
            </p:cNvPicPr>
            <p:nvPr/>
          </p:nvPicPr>
          <p:blipFill>
            <a:blip r:embed="rId11"/>
            <a:stretch>
              <a:fillRect/>
            </a:stretch>
          </p:blipFill>
          <p:spPr>
            <a:xfrm>
              <a:off x="1510343" y="3478679"/>
              <a:ext cx="203408" cy="203408"/>
            </a:xfrm>
            <a:prstGeom prst="rect">
              <a:avLst/>
            </a:prstGeom>
          </p:spPr>
        </p:pic>
        <p:pic>
          <p:nvPicPr>
            <p:cNvPr id="9" name="Picture 8">
              <a:extLst>
                <a:ext uri="{FF2B5EF4-FFF2-40B4-BE49-F238E27FC236}">
                  <a16:creationId xmlns:a16="http://schemas.microsoft.com/office/drawing/2014/main" id="{639295C3-8784-EDF8-6AE4-36EBF235141D}"/>
                </a:ext>
              </a:extLst>
            </p:cNvPr>
            <p:cNvPicPr>
              <a:picLocks noChangeAspect="1"/>
            </p:cNvPicPr>
            <p:nvPr/>
          </p:nvPicPr>
          <p:blipFill>
            <a:blip r:embed="rId12"/>
            <a:stretch>
              <a:fillRect/>
            </a:stretch>
          </p:blipFill>
          <p:spPr>
            <a:xfrm>
              <a:off x="1471927" y="3895016"/>
              <a:ext cx="203408" cy="203408"/>
            </a:xfrm>
            <a:prstGeom prst="rect">
              <a:avLst/>
            </a:prstGeom>
          </p:spPr>
        </p:pic>
        <p:pic>
          <p:nvPicPr>
            <p:cNvPr id="10" name="Picture 9">
              <a:extLst>
                <a:ext uri="{FF2B5EF4-FFF2-40B4-BE49-F238E27FC236}">
                  <a16:creationId xmlns:a16="http://schemas.microsoft.com/office/drawing/2014/main" id="{5373A4DD-5194-7CAE-819F-7C3B68FEBC9B}"/>
                </a:ext>
              </a:extLst>
            </p:cNvPr>
            <p:cNvPicPr>
              <a:picLocks noChangeAspect="1"/>
            </p:cNvPicPr>
            <p:nvPr/>
          </p:nvPicPr>
          <p:blipFill>
            <a:blip r:embed="rId13"/>
            <a:stretch>
              <a:fillRect/>
            </a:stretch>
          </p:blipFill>
          <p:spPr>
            <a:xfrm>
              <a:off x="2115713" y="4966110"/>
              <a:ext cx="203408" cy="203408"/>
            </a:xfrm>
            <a:prstGeom prst="rect">
              <a:avLst/>
            </a:prstGeom>
          </p:spPr>
        </p:pic>
        <p:pic>
          <p:nvPicPr>
            <p:cNvPr id="11" name="Picture 10">
              <a:extLst>
                <a:ext uri="{FF2B5EF4-FFF2-40B4-BE49-F238E27FC236}">
                  <a16:creationId xmlns:a16="http://schemas.microsoft.com/office/drawing/2014/main" id="{8A2E5172-C23C-5552-478D-B58E2D085A5A}"/>
                </a:ext>
              </a:extLst>
            </p:cNvPr>
            <p:cNvPicPr>
              <a:picLocks noChangeAspect="1"/>
            </p:cNvPicPr>
            <p:nvPr/>
          </p:nvPicPr>
          <p:blipFill>
            <a:blip r:embed="rId14"/>
            <a:stretch>
              <a:fillRect/>
            </a:stretch>
          </p:blipFill>
          <p:spPr>
            <a:xfrm>
              <a:off x="2353799" y="4481817"/>
              <a:ext cx="203408" cy="203408"/>
            </a:xfrm>
            <a:prstGeom prst="rect">
              <a:avLst/>
            </a:prstGeom>
          </p:spPr>
        </p:pic>
        <p:pic>
          <p:nvPicPr>
            <p:cNvPr id="12" name="Picture 11">
              <a:extLst>
                <a:ext uri="{FF2B5EF4-FFF2-40B4-BE49-F238E27FC236}">
                  <a16:creationId xmlns:a16="http://schemas.microsoft.com/office/drawing/2014/main" id="{A78AAFD6-E5E4-E53A-4A17-0DFC75539C57}"/>
                </a:ext>
              </a:extLst>
            </p:cNvPr>
            <p:cNvPicPr>
              <a:picLocks noChangeAspect="1"/>
            </p:cNvPicPr>
            <p:nvPr/>
          </p:nvPicPr>
          <p:blipFill>
            <a:blip r:embed="rId15"/>
            <a:stretch>
              <a:fillRect/>
            </a:stretch>
          </p:blipFill>
          <p:spPr>
            <a:xfrm>
              <a:off x="3635431" y="4921001"/>
              <a:ext cx="203408" cy="203408"/>
            </a:xfrm>
            <a:prstGeom prst="rect">
              <a:avLst/>
            </a:prstGeom>
          </p:spPr>
        </p:pic>
        <p:pic>
          <p:nvPicPr>
            <p:cNvPr id="13" name="Picture 12">
              <a:extLst>
                <a:ext uri="{FF2B5EF4-FFF2-40B4-BE49-F238E27FC236}">
                  <a16:creationId xmlns:a16="http://schemas.microsoft.com/office/drawing/2014/main" id="{7278914D-14A3-F36B-7E78-CF0574566047}"/>
                </a:ext>
              </a:extLst>
            </p:cNvPr>
            <p:cNvPicPr>
              <a:picLocks noChangeAspect="1"/>
            </p:cNvPicPr>
            <p:nvPr/>
          </p:nvPicPr>
          <p:blipFill>
            <a:blip r:embed="rId16"/>
            <a:stretch>
              <a:fillRect/>
            </a:stretch>
          </p:blipFill>
          <p:spPr>
            <a:xfrm>
              <a:off x="3114289" y="3500423"/>
              <a:ext cx="203408" cy="203408"/>
            </a:xfrm>
            <a:prstGeom prst="rect">
              <a:avLst/>
            </a:prstGeom>
          </p:spPr>
        </p:pic>
        <p:pic>
          <p:nvPicPr>
            <p:cNvPr id="14" name="Picture 13">
              <a:extLst>
                <a:ext uri="{FF2B5EF4-FFF2-40B4-BE49-F238E27FC236}">
                  <a16:creationId xmlns:a16="http://schemas.microsoft.com/office/drawing/2014/main" id="{715C9D0E-F84A-B94B-A6B2-AA850AC530E9}"/>
                </a:ext>
              </a:extLst>
            </p:cNvPr>
            <p:cNvPicPr>
              <a:picLocks noChangeAspect="1"/>
            </p:cNvPicPr>
            <p:nvPr/>
          </p:nvPicPr>
          <p:blipFill>
            <a:blip r:embed="rId17"/>
            <a:stretch>
              <a:fillRect/>
            </a:stretch>
          </p:blipFill>
          <p:spPr>
            <a:xfrm>
              <a:off x="3380575" y="3210915"/>
              <a:ext cx="203408" cy="203408"/>
            </a:xfrm>
            <a:prstGeom prst="rect">
              <a:avLst/>
            </a:prstGeom>
          </p:spPr>
        </p:pic>
        <p:pic>
          <p:nvPicPr>
            <p:cNvPr id="15" name="Picture 14">
              <a:extLst>
                <a:ext uri="{FF2B5EF4-FFF2-40B4-BE49-F238E27FC236}">
                  <a16:creationId xmlns:a16="http://schemas.microsoft.com/office/drawing/2014/main" id="{65AD07B0-1B0E-9204-809B-C9602A3083AA}"/>
                </a:ext>
              </a:extLst>
            </p:cNvPr>
            <p:cNvPicPr>
              <a:picLocks noChangeAspect="1"/>
            </p:cNvPicPr>
            <p:nvPr/>
          </p:nvPicPr>
          <p:blipFill>
            <a:blip r:embed="rId18"/>
            <a:stretch>
              <a:fillRect/>
            </a:stretch>
          </p:blipFill>
          <p:spPr>
            <a:xfrm>
              <a:off x="3095123" y="3117873"/>
              <a:ext cx="203408" cy="203408"/>
            </a:xfrm>
            <a:prstGeom prst="rect">
              <a:avLst/>
            </a:prstGeom>
          </p:spPr>
        </p:pic>
        <p:pic>
          <p:nvPicPr>
            <p:cNvPr id="16" name="Picture 15">
              <a:extLst>
                <a:ext uri="{FF2B5EF4-FFF2-40B4-BE49-F238E27FC236}">
                  <a16:creationId xmlns:a16="http://schemas.microsoft.com/office/drawing/2014/main" id="{71180AA8-013D-7502-0DBD-0F73AF47F906}"/>
                </a:ext>
              </a:extLst>
            </p:cNvPr>
            <p:cNvPicPr>
              <a:picLocks noChangeAspect="1"/>
            </p:cNvPicPr>
            <p:nvPr/>
          </p:nvPicPr>
          <p:blipFill>
            <a:blip r:embed="rId19"/>
            <a:stretch>
              <a:fillRect/>
            </a:stretch>
          </p:blipFill>
          <p:spPr>
            <a:xfrm>
              <a:off x="5409206" y="3560084"/>
              <a:ext cx="203408" cy="203408"/>
            </a:xfrm>
            <a:prstGeom prst="rect">
              <a:avLst/>
            </a:prstGeom>
          </p:spPr>
        </p:pic>
        <p:pic>
          <p:nvPicPr>
            <p:cNvPr id="17" name="Picture 16">
              <a:extLst>
                <a:ext uri="{FF2B5EF4-FFF2-40B4-BE49-F238E27FC236}">
                  <a16:creationId xmlns:a16="http://schemas.microsoft.com/office/drawing/2014/main" id="{05A62C73-9C37-5E63-0B14-415097750B5C}"/>
                </a:ext>
              </a:extLst>
            </p:cNvPr>
            <p:cNvPicPr>
              <a:picLocks noChangeAspect="1"/>
            </p:cNvPicPr>
            <p:nvPr/>
          </p:nvPicPr>
          <p:blipFill>
            <a:blip r:embed="rId20"/>
            <a:stretch>
              <a:fillRect/>
            </a:stretch>
          </p:blipFill>
          <p:spPr>
            <a:xfrm>
              <a:off x="5500049" y="4889858"/>
              <a:ext cx="203408" cy="203408"/>
            </a:xfrm>
            <a:prstGeom prst="rect">
              <a:avLst/>
            </a:prstGeom>
          </p:spPr>
        </p:pic>
        <p:pic>
          <p:nvPicPr>
            <p:cNvPr id="18" name="Picture 17">
              <a:extLst>
                <a:ext uri="{FF2B5EF4-FFF2-40B4-BE49-F238E27FC236}">
                  <a16:creationId xmlns:a16="http://schemas.microsoft.com/office/drawing/2014/main" id="{936DB6DF-ADE2-BD47-E889-0F8828D0858D}"/>
                </a:ext>
              </a:extLst>
            </p:cNvPr>
            <p:cNvPicPr>
              <a:picLocks noChangeAspect="1"/>
            </p:cNvPicPr>
            <p:nvPr/>
          </p:nvPicPr>
          <p:blipFill>
            <a:blip r:embed="rId21"/>
            <a:stretch>
              <a:fillRect/>
            </a:stretch>
          </p:blipFill>
          <p:spPr>
            <a:xfrm>
              <a:off x="4205262" y="2945824"/>
              <a:ext cx="203408" cy="203408"/>
            </a:xfrm>
            <a:prstGeom prst="rect">
              <a:avLst/>
            </a:prstGeom>
          </p:spPr>
        </p:pic>
      </p:grpSp>
      <p:sp>
        <p:nvSpPr>
          <p:cNvPr id="2316" name="Rectangle 2315">
            <a:extLst>
              <a:ext uri="{FF2B5EF4-FFF2-40B4-BE49-F238E27FC236}">
                <a16:creationId xmlns:a16="http://schemas.microsoft.com/office/drawing/2014/main" id="{35A30079-A154-6471-6F51-BCAE84E9B92B}"/>
              </a:ext>
            </a:extLst>
          </p:cNvPr>
          <p:cNvSpPr>
            <a:spLocks/>
          </p:cNvSpPr>
          <p:nvPr/>
        </p:nvSpPr>
        <p:spPr bwMode="gray">
          <a:xfrm>
            <a:off x="446073" y="5607271"/>
            <a:ext cx="11299851" cy="566727"/>
          </a:xfrm>
          <a:prstGeom prst="rect">
            <a:avLst/>
          </a:prstGeom>
          <a:solidFill>
            <a:schemeClr val="bg1">
              <a:lumMod val="95000"/>
            </a:schemeClr>
          </a:solidFill>
          <a:ln w="19050" algn="ctr">
            <a:solidFill>
              <a:schemeClr val="accent1"/>
            </a:solidFill>
            <a:prstDash val="dash"/>
            <a:miter lim="800000"/>
            <a:headEnd/>
            <a:tailEnd/>
          </a:ln>
        </p:spPr>
        <p:txBody>
          <a:bodyPr wrap="square" lIns="1080000" tIns="88900" rIns="144000" bIns="88900" rtlCol="0" anchor="ctr"/>
          <a:lstStyle/>
          <a:p>
            <a:r>
              <a:rPr lang="de-AT" sz="1200">
                <a:latin typeface="Aptos" panose="020B0004020202020204" pitchFamily="34" charset="0"/>
              </a:rPr>
              <a:t>Globale Diversität erfordert angepasste </a:t>
            </a:r>
            <a:r>
              <a:rPr lang="de-AT" sz="1200" b="1">
                <a:latin typeface="Aptos" panose="020B0004020202020204" pitchFamily="34" charset="0"/>
              </a:rPr>
              <a:t>Kommunikation</a:t>
            </a:r>
            <a:r>
              <a:rPr lang="de-AT" sz="1200">
                <a:latin typeface="Aptos" panose="020B0004020202020204" pitchFamily="34" charset="0"/>
              </a:rPr>
              <a:t>, </a:t>
            </a:r>
            <a:r>
              <a:rPr lang="de-AT" sz="1200" b="1">
                <a:latin typeface="Aptos" panose="020B0004020202020204" pitchFamily="34" charset="0"/>
              </a:rPr>
              <a:t>Verständnis</a:t>
            </a:r>
            <a:r>
              <a:rPr lang="de-AT" sz="1200">
                <a:latin typeface="Aptos" panose="020B0004020202020204" pitchFamily="34" charset="0"/>
              </a:rPr>
              <a:t> und </a:t>
            </a:r>
            <a:r>
              <a:rPr lang="de-AT" sz="1200" b="1">
                <a:latin typeface="Aptos" panose="020B0004020202020204" pitchFamily="34" charset="0"/>
              </a:rPr>
              <a:t>kulturelle Sensibilität</a:t>
            </a:r>
            <a:r>
              <a:rPr lang="de-AT" sz="1200">
                <a:latin typeface="Aptos" panose="020B0004020202020204" pitchFamily="34" charset="0"/>
              </a:rPr>
              <a:t>, um Security-Strategien erfolgreich umzusetzen</a:t>
            </a:r>
          </a:p>
        </p:txBody>
      </p:sp>
      <p:grpSp>
        <p:nvGrpSpPr>
          <p:cNvPr id="2317" name="Graphic 4">
            <a:extLst>
              <a:ext uri="{FF2B5EF4-FFF2-40B4-BE49-F238E27FC236}">
                <a16:creationId xmlns:a16="http://schemas.microsoft.com/office/drawing/2014/main" id="{F9EBE844-76C2-AB85-A831-1548042892AC}"/>
              </a:ext>
            </a:extLst>
          </p:cNvPr>
          <p:cNvGrpSpPr>
            <a:grpSpLocks noChangeAspect="1"/>
          </p:cNvGrpSpPr>
          <p:nvPr/>
        </p:nvGrpSpPr>
        <p:grpSpPr>
          <a:xfrm>
            <a:off x="710296" y="5708634"/>
            <a:ext cx="364344" cy="364000"/>
            <a:chOff x="7192513" y="4792617"/>
            <a:chExt cx="361674" cy="361333"/>
          </a:xfrm>
          <a:solidFill>
            <a:srgbClr val="2C5234"/>
          </a:solidFill>
        </p:grpSpPr>
        <p:sp>
          <p:nvSpPr>
            <p:cNvPr id="2318" name="Graphic 4">
              <a:extLst>
                <a:ext uri="{FF2B5EF4-FFF2-40B4-BE49-F238E27FC236}">
                  <a16:creationId xmlns:a16="http://schemas.microsoft.com/office/drawing/2014/main" id="{C01AEEA5-CA31-61E7-D90C-A14C9214F1A1}"/>
                </a:ext>
              </a:extLst>
            </p:cNvPr>
            <p:cNvSpPr/>
            <p:nvPr/>
          </p:nvSpPr>
          <p:spPr>
            <a:xfrm>
              <a:off x="7316477" y="4908806"/>
              <a:ext cx="154636" cy="90652"/>
            </a:xfrm>
            <a:custGeom>
              <a:avLst/>
              <a:gdLst>
                <a:gd name="connsiteX0" fmla="*/ 120770 w 154636"/>
                <a:gd name="connsiteY0" fmla="*/ 15322 h 90652"/>
                <a:gd name="connsiteX1" fmla="*/ 118853 w 154636"/>
                <a:gd name="connsiteY1" fmla="*/ 15322 h 90652"/>
                <a:gd name="connsiteX2" fmla="*/ 65817 w 154636"/>
                <a:gd name="connsiteY2" fmla="*/ 0 h 90652"/>
                <a:gd name="connsiteX3" fmla="*/ 4473 w 154636"/>
                <a:gd name="connsiteY3" fmla="*/ 33197 h 90652"/>
                <a:gd name="connsiteX4" fmla="*/ 0 w 154636"/>
                <a:gd name="connsiteY4" fmla="*/ 40858 h 90652"/>
                <a:gd name="connsiteX5" fmla="*/ 3195 w 154636"/>
                <a:gd name="connsiteY5" fmla="*/ 49157 h 90652"/>
                <a:gd name="connsiteX6" fmla="*/ 8946 w 154636"/>
                <a:gd name="connsiteY6" fmla="*/ 50434 h 90652"/>
                <a:gd name="connsiteX7" fmla="*/ 99683 w 154636"/>
                <a:gd name="connsiteY7" fmla="*/ 35112 h 90652"/>
                <a:gd name="connsiteX8" fmla="*/ 106073 w 154636"/>
                <a:gd name="connsiteY8" fmla="*/ 38304 h 90652"/>
                <a:gd name="connsiteX9" fmla="*/ 135466 w 154636"/>
                <a:gd name="connsiteY9" fmla="*/ 90653 h 90652"/>
                <a:gd name="connsiteX10" fmla="*/ 137384 w 154636"/>
                <a:gd name="connsiteY10" fmla="*/ 90014 h 90652"/>
                <a:gd name="connsiteX11" fmla="*/ 153358 w 154636"/>
                <a:gd name="connsiteY11" fmla="*/ 90014 h 90652"/>
                <a:gd name="connsiteX12" fmla="*/ 154636 w 154636"/>
                <a:gd name="connsiteY12" fmla="*/ 90014 h 90652"/>
                <a:gd name="connsiteX13" fmla="*/ 154636 w 154636"/>
                <a:gd name="connsiteY13" fmla="*/ 14683 h 90652"/>
                <a:gd name="connsiteX14" fmla="*/ 120770 w 154636"/>
                <a:gd name="connsiteY14" fmla="*/ 14683 h 9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636" h="90652">
                  <a:moveTo>
                    <a:pt x="120770" y="15322"/>
                  </a:moveTo>
                  <a:cubicBezTo>
                    <a:pt x="120131" y="15322"/>
                    <a:pt x="119492" y="15322"/>
                    <a:pt x="118853" y="15322"/>
                  </a:cubicBezTo>
                  <a:lnTo>
                    <a:pt x="65817" y="0"/>
                  </a:lnTo>
                  <a:lnTo>
                    <a:pt x="4473" y="33197"/>
                  </a:lnTo>
                  <a:cubicBezTo>
                    <a:pt x="1917" y="35112"/>
                    <a:pt x="0" y="37666"/>
                    <a:pt x="0" y="40858"/>
                  </a:cubicBezTo>
                  <a:cubicBezTo>
                    <a:pt x="0" y="44050"/>
                    <a:pt x="1278" y="47242"/>
                    <a:pt x="3195" y="49157"/>
                  </a:cubicBezTo>
                  <a:cubicBezTo>
                    <a:pt x="4473" y="50434"/>
                    <a:pt x="6390" y="51072"/>
                    <a:pt x="8946" y="50434"/>
                  </a:cubicBezTo>
                  <a:lnTo>
                    <a:pt x="99683" y="35112"/>
                  </a:lnTo>
                  <a:cubicBezTo>
                    <a:pt x="102239" y="34474"/>
                    <a:pt x="104795" y="35751"/>
                    <a:pt x="106073" y="38304"/>
                  </a:cubicBezTo>
                  <a:lnTo>
                    <a:pt x="135466" y="90653"/>
                  </a:lnTo>
                  <a:cubicBezTo>
                    <a:pt x="136106" y="90653"/>
                    <a:pt x="136745" y="90014"/>
                    <a:pt x="137384" y="90014"/>
                  </a:cubicBezTo>
                  <a:lnTo>
                    <a:pt x="153358" y="90014"/>
                  </a:lnTo>
                  <a:cubicBezTo>
                    <a:pt x="153997" y="90014"/>
                    <a:pt x="154636" y="90014"/>
                    <a:pt x="154636" y="90014"/>
                  </a:cubicBezTo>
                  <a:lnTo>
                    <a:pt x="154636" y="14683"/>
                  </a:lnTo>
                  <a:lnTo>
                    <a:pt x="120770" y="14683"/>
                  </a:lnTo>
                  <a:close/>
                </a:path>
              </a:pathLst>
            </a:custGeom>
            <a:grpFill/>
            <a:ln w="6390" cap="flat">
              <a:noFill/>
              <a:prstDash val="solid"/>
              <a:miter/>
            </a:ln>
          </p:spPr>
          <p:txBody>
            <a:bodyPr rtlCol="0" anchor="ctr"/>
            <a:lstStyle/>
            <a:p>
              <a:endParaRPr lang="en-US" sz="1432"/>
            </a:p>
          </p:txBody>
        </p:sp>
        <p:sp>
          <p:nvSpPr>
            <p:cNvPr id="2319" name="Graphic 4">
              <a:extLst>
                <a:ext uri="{FF2B5EF4-FFF2-40B4-BE49-F238E27FC236}">
                  <a16:creationId xmlns:a16="http://schemas.microsoft.com/office/drawing/2014/main" id="{A52F9FC9-64F8-ECCF-0B81-8182D31AAAE6}"/>
                </a:ext>
              </a:extLst>
            </p:cNvPr>
            <p:cNvSpPr/>
            <p:nvPr/>
          </p:nvSpPr>
          <p:spPr>
            <a:xfrm>
              <a:off x="7275582" y="4924128"/>
              <a:ext cx="169333" cy="123630"/>
            </a:xfrm>
            <a:custGeom>
              <a:avLst/>
              <a:gdLst>
                <a:gd name="connsiteX0" fmla="*/ 137384 w 169333"/>
                <a:gd name="connsiteY0" fmla="*/ 33197 h 123630"/>
                <a:gd name="connsiteX1" fmla="*/ 51119 w 169333"/>
                <a:gd name="connsiteY1" fmla="*/ 47880 h 123630"/>
                <a:gd name="connsiteX2" fmla="*/ 35145 w 169333"/>
                <a:gd name="connsiteY2" fmla="*/ 43411 h 123630"/>
                <a:gd name="connsiteX3" fmla="*/ 27477 w 169333"/>
                <a:gd name="connsiteY3" fmla="*/ 25536 h 123630"/>
                <a:gd name="connsiteX4" fmla="*/ 38340 w 169333"/>
                <a:gd name="connsiteY4" fmla="*/ 6384 h 123630"/>
                <a:gd name="connsiteX5" fmla="*/ 50481 w 169333"/>
                <a:gd name="connsiteY5" fmla="*/ 0 h 123630"/>
                <a:gd name="connsiteX6" fmla="*/ 0 w 169333"/>
                <a:gd name="connsiteY6" fmla="*/ 0 h 123630"/>
                <a:gd name="connsiteX7" fmla="*/ 0 w 169333"/>
                <a:gd name="connsiteY7" fmla="*/ 74693 h 123630"/>
                <a:gd name="connsiteX8" fmla="*/ 17253 w 169333"/>
                <a:gd name="connsiteY8" fmla="*/ 74693 h 123630"/>
                <a:gd name="connsiteX9" fmla="*/ 23004 w 169333"/>
                <a:gd name="connsiteY9" fmla="*/ 77885 h 123630"/>
                <a:gd name="connsiteX10" fmla="*/ 46647 w 169333"/>
                <a:gd name="connsiteY10" fmla="*/ 117465 h 123630"/>
                <a:gd name="connsiteX11" fmla="*/ 53676 w 169333"/>
                <a:gd name="connsiteY11" fmla="*/ 123211 h 123630"/>
                <a:gd name="connsiteX12" fmla="*/ 61343 w 169333"/>
                <a:gd name="connsiteY12" fmla="*/ 122573 h 123630"/>
                <a:gd name="connsiteX13" fmla="*/ 63899 w 169333"/>
                <a:gd name="connsiteY13" fmla="*/ 109805 h 123630"/>
                <a:gd name="connsiteX14" fmla="*/ 58148 w 169333"/>
                <a:gd name="connsiteY14" fmla="*/ 101505 h 123630"/>
                <a:gd name="connsiteX15" fmla="*/ 60066 w 169333"/>
                <a:gd name="connsiteY15" fmla="*/ 92568 h 123630"/>
                <a:gd name="connsiteX16" fmla="*/ 69012 w 169333"/>
                <a:gd name="connsiteY16" fmla="*/ 94483 h 123630"/>
                <a:gd name="connsiteX17" fmla="*/ 74763 w 169333"/>
                <a:gd name="connsiteY17" fmla="*/ 102782 h 123630"/>
                <a:gd name="connsiteX18" fmla="*/ 74763 w 169333"/>
                <a:gd name="connsiteY18" fmla="*/ 102782 h 123630"/>
                <a:gd name="connsiteX19" fmla="*/ 74763 w 169333"/>
                <a:gd name="connsiteY19" fmla="*/ 102782 h 123630"/>
                <a:gd name="connsiteX20" fmla="*/ 74763 w 169333"/>
                <a:gd name="connsiteY20" fmla="*/ 102782 h 123630"/>
                <a:gd name="connsiteX21" fmla="*/ 83708 w 169333"/>
                <a:gd name="connsiteY21" fmla="*/ 117465 h 123630"/>
                <a:gd name="connsiteX22" fmla="*/ 98405 w 169333"/>
                <a:gd name="connsiteY22" fmla="*/ 121296 h 123630"/>
                <a:gd name="connsiteX23" fmla="*/ 102239 w 169333"/>
                <a:gd name="connsiteY23" fmla="*/ 107251 h 123630"/>
                <a:gd name="connsiteX24" fmla="*/ 86903 w 169333"/>
                <a:gd name="connsiteY24" fmla="*/ 81715 h 123630"/>
                <a:gd name="connsiteX25" fmla="*/ 88820 w 169333"/>
                <a:gd name="connsiteY25" fmla="*/ 72777 h 123630"/>
                <a:gd name="connsiteX26" fmla="*/ 97766 w 169333"/>
                <a:gd name="connsiteY26" fmla="*/ 74693 h 123630"/>
                <a:gd name="connsiteX27" fmla="*/ 99683 w 169333"/>
                <a:gd name="connsiteY27" fmla="*/ 78523 h 123630"/>
                <a:gd name="connsiteX28" fmla="*/ 100322 w 169333"/>
                <a:gd name="connsiteY28" fmla="*/ 79161 h 123630"/>
                <a:gd name="connsiteX29" fmla="*/ 112463 w 169333"/>
                <a:gd name="connsiteY29" fmla="*/ 100229 h 123630"/>
                <a:gd name="connsiteX30" fmla="*/ 112463 w 169333"/>
                <a:gd name="connsiteY30" fmla="*/ 100867 h 123630"/>
                <a:gd name="connsiteX31" fmla="*/ 121409 w 169333"/>
                <a:gd name="connsiteY31" fmla="*/ 115550 h 123630"/>
                <a:gd name="connsiteX32" fmla="*/ 136106 w 169333"/>
                <a:gd name="connsiteY32" fmla="*/ 119381 h 123630"/>
                <a:gd name="connsiteX33" fmla="*/ 138662 w 169333"/>
                <a:gd name="connsiteY33" fmla="*/ 105336 h 123630"/>
                <a:gd name="connsiteX34" fmla="*/ 113102 w 169333"/>
                <a:gd name="connsiteY34" fmla="*/ 61925 h 123630"/>
                <a:gd name="connsiteX35" fmla="*/ 115658 w 169333"/>
                <a:gd name="connsiteY35" fmla="*/ 52987 h 123630"/>
                <a:gd name="connsiteX36" fmla="*/ 124604 w 169333"/>
                <a:gd name="connsiteY36" fmla="*/ 55541 h 123630"/>
                <a:gd name="connsiteX37" fmla="*/ 150164 w 169333"/>
                <a:gd name="connsiteY37" fmla="*/ 98952 h 123630"/>
                <a:gd name="connsiteX38" fmla="*/ 156553 w 169333"/>
                <a:gd name="connsiteY38" fmla="*/ 104059 h 123630"/>
                <a:gd name="connsiteX39" fmla="*/ 164222 w 169333"/>
                <a:gd name="connsiteY39" fmla="*/ 102782 h 123630"/>
                <a:gd name="connsiteX40" fmla="*/ 168056 w 169333"/>
                <a:gd name="connsiteY40" fmla="*/ 88099 h 123630"/>
                <a:gd name="connsiteX41" fmla="*/ 137384 w 169333"/>
                <a:gd name="connsiteY41" fmla="*/ 33197 h 12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9333" h="123630">
                  <a:moveTo>
                    <a:pt x="137384" y="33197"/>
                  </a:moveTo>
                  <a:lnTo>
                    <a:pt x="51119" y="47880"/>
                  </a:lnTo>
                  <a:cubicBezTo>
                    <a:pt x="44730" y="48518"/>
                    <a:pt x="39618" y="47241"/>
                    <a:pt x="35145" y="43411"/>
                  </a:cubicBezTo>
                  <a:cubicBezTo>
                    <a:pt x="30033" y="38942"/>
                    <a:pt x="27477" y="32558"/>
                    <a:pt x="27477" y="25536"/>
                  </a:cubicBezTo>
                  <a:cubicBezTo>
                    <a:pt x="27477" y="17875"/>
                    <a:pt x="31950" y="10853"/>
                    <a:pt x="38340" y="6384"/>
                  </a:cubicBezTo>
                  <a:lnTo>
                    <a:pt x="50481" y="0"/>
                  </a:lnTo>
                  <a:lnTo>
                    <a:pt x="0" y="0"/>
                  </a:lnTo>
                  <a:lnTo>
                    <a:pt x="0" y="74693"/>
                  </a:lnTo>
                  <a:lnTo>
                    <a:pt x="17253" y="74693"/>
                  </a:lnTo>
                  <a:cubicBezTo>
                    <a:pt x="19809" y="74693"/>
                    <a:pt x="21726" y="75969"/>
                    <a:pt x="23004" y="77885"/>
                  </a:cubicBezTo>
                  <a:lnTo>
                    <a:pt x="46647" y="117465"/>
                  </a:lnTo>
                  <a:cubicBezTo>
                    <a:pt x="47925" y="120019"/>
                    <a:pt x="50481" y="121934"/>
                    <a:pt x="53676" y="123211"/>
                  </a:cubicBezTo>
                  <a:cubicBezTo>
                    <a:pt x="56232" y="123849"/>
                    <a:pt x="58788" y="123849"/>
                    <a:pt x="61343" y="122573"/>
                  </a:cubicBezTo>
                  <a:cubicBezTo>
                    <a:pt x="67094" y="119381"/>
                    <a:pt x="66456" y="113635"/>
                    <a:pt x="63899" y="109805"/>
                  </a:cubicBezTo>
                  <a:lnTo>
                    <a:pt x="58148" y="101505"/>
                  </a:lnTo>
                  <a:cubicBezTo>
                    <a:pt x="56232" y="98313"/>
                    <a:pt x="56871" y="94483"/>
                    <a:pt x="60066" y="92568"/>
                  </a:cubicBezTo>
                  <a:cubicBezTo>
                    <a:pt x="63261" y="90653"/>
                    <a:pt x="67094" y="91291"/>
                    <a:pt x="69012" y="94483"/>
                  </a:cubicBezTo>
                  <a:lnTo>
                    <a:pt x="74763" y="102782"/>
                  </a:lnTo>
                  <a:cubicBezTo>
                    <a:pt x="74763" y="102782"/>
                    <a:pt x="74763" y="102782"/>
                    <a:pt x="74763" y="102782"/>
                  </a:cubicBezTo>
                  <a:cubicBezTo>
                    <a:pt x="74763" y="102782"/>
                    <a:pt x="74763" y="102782"/>
                    <a:pt x="74763" y="102782"/>
                  </a:cubicBezTo>
                  <a:cubicBezTo>
                    <a:pt x="74763" y="102782"/>
                    <a:pt x="74763" y="102782"/>
                    <a:pt x="74763" y="102782"/>
                  </a:cubicBezTo>
                  <a:lnTo>
                    <a:pt x="83708" y="117465"/>
                  </a:lnTo>
                  <a:cubicBezTo>
                    <a:pt x="86903" y="122573"/>
                    <a:pt x="93293" y="123849"/>
                    <a:pt x="98405" y="121296"/>
                  </a:cubicBezTo>
                  <a:cubicBezTo>
                    <a:pt x="103517" y="118104"/>
                    <a:pt x="104795" y="112358"/>
                    <a:pt x="102239" y="107251"/>
                  </a:cubicBezTo>
                  <a:lnTo>
                    <a:pt x="86903" y="81715"/>
                  </a:lnTo>
                  <a:cubicBezTo>
                    <a:pt x="84986" y="78523"/>
                    <a:pt x="86264" y="74693"/>
                    <a:pt x="88820" y="72777"/>
                  </a:cubicBezTo>
                  <a:cubicBezTo>
                    <a:pt x="92015" y="70862"/>
                    <a:pt x="95849" y="72139"/>
                    <a:pt x="97766" y="74693"/>
                  </a:cubicBezTo>
                  <a:lnTo>
                    <a:pt x="99683" y="78523"/>
                  </a:lnTo>
                  <a:cubicBezTo>
                    <a:pt x="99683" y="78523"/>
                    <a:pt x="100322" y="79161"/>
                    <a:pt x="100322" y="79161"/>
                  </a:cubicBezTo>
                  <a:lnTo>
                    <a:pt x="112463" y="100229"/>
                  </a:lnTo>
                  <a:cubicBezTo>
                    <a:pt x="112463" y="100229"/>
                    <a:pt x="112463" y="100229"/>
                    <a:pt x="112463" y="100867"/>
                  </a:cubicBezTo>
                  <a:lnTo>
                    <a:pt x="121409" y="115550"/>
                  </a:lnTo>
                  <a:cubicBezTo>
                    <a:pt x="124604" y="120657"/>
                    <a:pt x="130994" y="122573"/>
                    <a:pt x="136106" y="119381"/>
                  </a:cubicBezTo>
                  <a:cubicBezTo>
                    <a:pt x="141857" y="116189"/>
                    <a:pt x="141217" y="109805"/>
                    <a:pt x="138662" y="105336"/>
                  </a:cubicBezTo>
                  <a:lnTo>
                    <a:pt x="113102" y="61925"/>
                  </a:lnTo>
                  <a:cubicBezTo>
                    <a:pt x="111185" y="58733"/>
                    <a:pt x="112463" y="54902"/>
                    <a:pt x="115658" y="52987"/>
                  </a:cubicBezTo>
                  <a:cubicBezTo>
                    <a:pt x="118853" y="51072"/>
                    <a:pt x="122687" y="52349"/>
                    <a:pt x="124604" y="55541"/>
                  </a:cubicBezTo>
                  <a:lnTo>
                    <a:pt x="150164" y="98952"/>
                  </a:lnTo>
                  <a:cubicBezTo>
                    <a:pt x="151442" y="101505"/>
                    <a:pt x="153997" y="102782"/>
                    <a:pt x="156553" y="104059"/>
                  </a:cubicBezTo>
                  <a:cubicBezTo>
                    <a:pt x="159110" y="104697"/>
                    <a:pt x="162305" y="104059"/>
                    <a:pt x="164222" y="102782"/>
                  </a:cubicBezTo>
                  <a:cubicBezTo>
                    <a:pt x="169333" y="99590"/>
                    <a:pt x="170612" y="93206"/>
                    <a:pt x="168056" y="88099"/>
                  </a:cubicBezTo>
                  <a:lnTo>
                    <a:pt x="137384" y="33197"/>
                  </a:lnTo>
                  <a:close/>
                </a:path>
              </a:pathLst>
            </a:custGeom>
            <a:grpFill/>
            <a:ln w="6390" cap="flat">
              <a:noFill/>
              <a:prstDash val="solid"/>
              <a:miter/>
            </a:ln>
          </p:spPr>
          <p:txBody>
            <a:bodyPr rtlCol="0" anchor="ctr"/>
            <a:lstStyle/>
            <a:p>
              <a:endParaRPr lang="en-US" sz="1432"/>
            </a:p>
          </p:txBody>
        </p:sp>
        <p:sp>
          <p:nvSpPr>
            <p:cNvPr id="2320" name="Graphic 4">
              <a:extLst>
                <a:ext uri="{FF2B5EF4-FFF2-40B4-BE49-F238E27FC236}">
                  <a16:creationId xmlns:a16="http://schemas.microsoft.com/office/drawing/2014/main" id="{B9D6134D-16BB-F661-8811-ABAFAF0C31C9}"/>
                </a:ext>
              </a:extLst>
            </p:cNvPr>
            <p:cNvSpPr/>
            <p:nvPr/>
          </p:nvSpPr>
          <p:spPr>
            <a:xfrm>
              <a:off x="7192513" y="4792617"/>
              <a:ext cx="361674" cy="361333"/>
            </a:xfrm>
            <a:custGeom>
              <a:avLst/>
              <a:gdLst>
                <a:gd name="connsiteX0" fmla="*/ 180836 w 361674"/>
                <a:gd name="connsiteY0" fmla="*/ 0 h 361333"/>
                <a:gd name="connsiteX1" fmla="*/ 0 w 361674"/>
                <a:gd name="connsiteY1" fmla="*/ 180667 h 361333"/>
                <a:gd name="connsiteX2" fmla="*/ 180836 w 361674"/>
                <a:gd name="connsiteY2" fmla="*/ 361334 h 361333"/>
                <a:gd name="connsiteX3" fmla="*/ 361670 w 361674"/>
                <a:gd name="connsiteY3" fmla="*/ 180667 h 361333"/>
                <a:gd name="connsiteX4" fmla="*/ 180836 w 361674"/>
                <a:gd name="connsiteY4" fmla="*/ 0 h 361333"/>
                <a:gd name="connsiteX5" fmla="*/ 292659 w 361674"/>
                <a:gd name="connsiteY5" fmla="*/ 222163 h 361333"/>
                <a:gd name="connsiteX6" fmla="*/ 299049 w 361674"/>
                <a:gd name="connsiteY6" fmla="*/ 228547 h 361333"/>
                <a:gd name="connsiteX7" fmla="*/ 292659 w 361674"/>
                <a:gd name="connsiteY7" fmla="*/ 234931 h 361333"/>
                <a:gd name="connsiteX8" fmla="*/ 284991 w 361674"/>
                <a:gd name="connsiteY8" fmla="*/ 234931 h 361333"/>
                <a:gd name="connsiteX9" fmla="*/ 278601 w 361674"/>
                <a:gd name="connsiteY9" fmla="*/ 228547 h 361333"/>
                <a:gd name="connsiteX10" fmla="*/ 278601 w 361674"/>
                <a:gd name="connsiteY10" fmla="*/ 218971 h 361333"/>
                <a:gd name="connsiteX11" fmla="*/ 277323 w 361674"/>
                <a:gd name="connsiteY11" fmla="*/ 218971 h 361333"/>
                <a:gd name="connsiteX12" fmla="*/ 265821 w 361674"/>
                <a:gd name="connsiteY12" fmla="*/ 218971 h 361333"/>
                <a:gd name="connsiteX13" fmla="*/ 255597 w 361674"/>
                <a:gd name="connsiteY13" fmla="*/ 245145 h 361333"/>
                <a:gd name="connsiteX14" fmla="*/ 243456 w 361674"/>
                <a:gd name="connsiteY14" fmla="*/ 248337 h 361333"/>
                <a:gd name="connsiteX15" fmla="*/ 237706 w 361674"/>
                <a:gd name="connsiteY15" fmla="*/ 247699 h 361333"/>
                <a:gd name="connsiteX16" fmla="*/ 237706 w 361674"/>
                <a:gd name="connsiteY16" fmla="*/ 247699 h 361333"/>
                <a:gd name="connsiteX17" fmla="*/ 227482 w 361674"/>
                <a:gd name="connsiteY17" fmla="*/ 261743 h 361333"/>
                <a:gd name="connsiteX18" fmla="*/ 215980 w 361674"/>
                <a:gd name="connsiteY18" fmla="*/ 264935 h 361333"/>
                <a:gd name="connsiteX19" fmla="*/ 197449 w 361674"/>
                <a:gd name="connsiteY19" fmla="*/ 255998 h 361333"/>
                <a:gd name="connsiteX20" fmla="*/ 189782 w 361674"/>
                <a:gd name="connsiteY20" fmla="*/ 263659 h 361333"/>
                <a:gd name="connsiteX21" fmla="*/ 177641 w 361674"/>
                <a:gd name="connsiteY21" fmla="*/ 266851 h 361333"/>
                <a:gd name="connsiteX22" fmla="*/ 159748 w 361674"/>
                <a:gd name="connsiteY22" fmla="*/ 258551 h 361333"/>
                <a:gd name="connsiteX23" fmla="*/ 152720 w 361674"/>
                <a:gd name="connsiteY23" fmla="*/ 264935 h 361333"/>
                <a:gd name="connsiteX24" fmla="*/ 141857 w 361674"/>
                <a:gd name="connsiteY24" fmla="*/ 268127 h 361333"/>
                <a:gd name="connsiteX25" fmla="*/ 134828 w 361674"/>
                <a:gd name="connsiteY25" fmla="*/ 266851 h 361333"/>
                <a:gd name="connsiteX26" fmla="*/ 120770 w 361674"/>
                <a:gd name="connsiteY26" fmla="*/ 255998 h 361333"/>
                <a:gd name="connsiteX27" fmla="*/ 98405 w 361674"/>
                <a:gd name="connsiteY27" fmla="*/ 218971 h 361333"/>
                <a:gd name="connsiteX28" fmla="*/ 84348 w 361674"/>
                <a:gd name="connsiteY28" fmla="*/ 218971 h 361333"/>
                <a:gd name="connsiteX29" fmla="*/ 84348 w 361674"/>
                <a:gd name="connsiteY29" fmla="*/ 228547 h 361333"/>
                <a:gd name="connsiteX30" fmla="*/ 77958 w 361674"/>
                <a:gd name="connsiteY30" fmla="*/ 234931 h 361333"/>
                <a:gd name="connsiteX31" fmla="*/ 70289 w 361674"/>
                <a:gd name="connsiteY31" fmla="*/ 234931 h 361333"/>
                <a:gd name="connsiteX32" fmla="*/ 63899 w 361674"/>
                <a:gd name="connsiteY32" fmla="*/ 228547 h 361333"/>
                <a:gd name="connsiteX33" fmla="*/ 70289 w 361674"/>
                <a:gd name="connsiteY33" fmla="*/ 222163 h 361333"/>
                <a:gd name="connsiteX34" fmla="*/ 71568 w 361674"/>
                <a:gd name="connsiteY34" fmla="*/ 222163 h 361333"/>
                <a:gd name="connsiteX35" fmla="*/ 71568 w 361674"/>
                <a:gd name="connsiteY35" fmla="*/ 107251 h 361333"/>
                <a:gd name="connsiteX36" fmla="*/ 70289 w 361674"/>
                <a:gd name="connsiteY36" fmla="*/ 107251 h 361333"/>
                <a:gd name="connsiteX37" fmla="*/ 63899 w 361674"/>
                <a:gd name="connsiteY37" fmla="*/ 100867 h 361333"/>
                <a:gd name="connsiteX38" fmla="*/ 70289 w 361674"/>
                <a:gd name="connsiteY38" fmla="*/ 94483 h 361333"/>
                <a:gd name="connsiteX39" fmla="*/ 77958 w 361674"/>
                <a:gd name="connsiteY39" fmla="*/ 94483 h 361333"/>
                <a:gd name="connsiteX40" fmla="*/ 84348 w 361674"/>
                <a:gd name="connsiteY40" fmla="*/ 100867 h 361333"/>
                <a:gd name="connsiteX41" fmla="*/ 84348 w 361674"/>
                <a:gd name="connsiteY41" fmla="*/ 118104 h 361333"/>
                <a:gd name="connsiteX42" fmla="*/ 157832 w 361674"/>
                <a:gd name="connsiteY42" fmla="*/ 118104 h 361333"/>
                <a:gd name="connsiteX43" fmla="*/ 158471 w 361674"/>
                <a:gd name="connsiteY43" fmla="*/ 118104 h 361333"/>
                <a:gd name="connsiteX44" fmla="*/ 186587 w 361674"/>
                <a:gd name="connsiteY44" fmla="*/ 102782 h 361333"/>
                <a:gd name="connsiteX45" fmla="*/ 191059 w 361674"/>
                <a:gd name="connsiteY45" fmla="*/ 102144 h 361333"/>
                <a:gd name="connsiteX46" fmla="*/ 246013 w 361674"/>
                <a:gd name="connsiteY46" fmla="*/ 118104 h 361333"/>
                <a:gd name="connsiteX47" fmla="*/ 278601 w 361674"/>
                <a:gd name="connsiteY47" fmla="*/ 118104 h 361333"/>
                <a:gd name="connsiteX48" fmla="*/ 278601 w 361674"/>
                <a:gd name="connsiteY48" fmla="*/ 100867 h 361333"/>
                <a:gd name="connsiteX49" fmla="*/ 284991 w 361674"/>
                <a:gd name="connsiteY49" fmla="*/ 94483 h 361333"/>
                <a:gd name="connsiteX50" fmla="*/ 292659 w 361674"/>
                <a:gd name="connsiteY50" fmla="*/ 94483 h 361333"/>
                <a:gd name="connsiteX51" fmla="*/ 299049 w 361674"/>
                <a:gd name="connsiteY51" fmla="*/ 100867 h 361333"/>
                <a:gd name="connsiteX52" fmla="*/ 292659 w 361674"/>
                <a:gd name="connsiteY52" fmla="*/ 107251 h 361333"/>
                <a:gd name="connsiteX53" fmla="*/ 291381 w 361674"/>
                <a:gd name="connsiteY53" fmla="*/ 107251 h 361333"/>
                <a:gd name="connsiteX54" fmla="*/ 291381 w 361674"/>
                <a:gd name="connsiteY54" fmla="*/ 222163 h 361333"/>
                <a:gd name="connsiteX55" fmla="*/ 292659 w 361674"/>
                <a:gd name="connsiteY55" fmla="*/ 22216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1674" h="361333">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close/>
                  <a:moveTo>
                    <a:pt x="292659" y="222163"/>
                  </a:moveTo>
                  <a:cubicBezTo>
                    <a:pt x="296493" y="222163"/>
                    <a:pt x="299049" y="224716"/>
                    <a:pt x="299049" y="228547"/>
                  </a:cubicBezTo>
                  <a:cubicBezTo>
                    <a:pt x="299049" y="232377"/>
                    <a:pt x="296493" y="234931"/>
                    <a:pt x="292659" y="234931"/>
                  </a:cubicBezTo>
                  <a:lnTo>
                    <a:pt x="284991" y="234931"/>
                  </a:lnTo>
                  <a:cubicBezTo>
                    <a:pt x="281157" y="234931"/>
                    <a:pt x="278601" y="232377"/>
                    <a:pt x="278601" y="228547"/>
                  </a:cubicBezTo>
                  <a:lnTo>
                    <a:pt x="278601" y="218971"/>
                  </a:lnTo>
                  <a:cubicBezTo>
                    <a:pt x="277962" y="218971"/>
                    <a:pt x="277323" y="218971"/>
                    <a:pt x="277323" y="218971"/>
                  </a:cubicBezTo>
                  <a:lnTo>
                    <a:pt x="265821" y="218971"/>
                  </a:lnTo>
                  <a:cubicBezTo>
                    <a:pt x="268377" y="228547"/>
                    <a:pt x="264544" y="239399"/>
                    <a:pt x="255597" y="245145"/>
                  </a:cubicBezTo>
                  <a:cubicBezTo>
                    <a:pt x="251764" y="247060"/>
                    <a:pt x="247930" y="248337"/>
                    <a:pt x="243456" y="248337"/>
                  </a:cubicBezTo>
                  <a:cubicBezTo>
                    <a:pt x="241540" y="248337"/>
                    <a:pt x="239623" y="248337"/>
                    <a:pt x="237706" y="247699"/>
                  </a:cubicBezTo>
                  <a:cubicBezTo>
                    <a:pt x="237706" y="247699"/>
                    <a:pt x="237706" y="247699"/>
                    <a:pt x="237706" y="247699"/>
                  </a:cubicBezTo>
                  <a:cubicBezTo>
                    <a:pt x="236428" y="253444"/>
                    <a:pt x="233233" y="258551"/>
                    <a:pt x="227482" y="261743"/>
                  </a:cubicBezTo>
                  <a:cubicBezTo>
                    <a:pt x="223648" y="263659"/>
                    <a:pt x="219814" y="264935"/>
                    <a:pt x="215980" y="264935"/>
                  </a:cubicBezTo>
                  <a:cubicBezTo>
                    <a:pt x="208951" y="264935"/>
                    <a:pt x="201922" y="261743"/>
                    <a:pt x="197449" y="255998"/>
                  </a:cubicBezTo>
                  <a:cubicBezTo>
                    <a:pt x="195532" y="259190"/>
                    <a:pt x="192977" y="261743"/>
                    <a:pt x="189782" y="263659"/>
                  </a:cubicBezTo>
                  <a:cubicBezTo>
                    <a:pt x="185947" y="265574"/>
                    <a:pt x="182113" y="266851"/>
                    <a:pt x="177641" y="266851"/>
                  </a:cubicBezTo>
                  <a:cubicBezTo>
                    <a:pt x="170612" y="266851"/>
                    <a:pt x="164222" y="263659"/>
                    <a:pt x="159748" y="258551"/>
                  </a:cubicBezTo>
                  <a:cubicBezTo>
                    <a:pt x="157832" y="261105"/>
                    <a:pt x="155915" y="263020"/>
                    <a:pt x="152720" y="264935"/>
                  </a:cubicBezTo>
                  <a:cubicBezTo>
                    <a:pt x="149525" y="266851"/>
                    <a:pt x="145691" y="268127"/>
                    <a:pt x="141857" y="268127"/>
                  </a:cubicBezTo>
                  <a:cubicBezTo>
                    <a:pt x="139301" y="268127"/>
                    <a:pt x="137384" y="267489"/>
                    <a:pt x="134828" y="266851"/>
                  </a:cubicBezTo>
                  <a:cubicBezTo>
                    <a:pt x="129077" y="264935"/>
                    <a:pt x="123965" y="261105"/>
                    <a:pt x="120770" y="255998"/>
                  </a:cubicBezTo>
                  <a:lnTo>
                    <a:pt x="98405" y="218971"/>
                  </a:lnTo>
                  <a:lnTo>
                    <a:pt x="84348" y="218971"/>
                  </a:lnTo>
                  <a:lnTo>
                    <a:pt x="84348" y="228547"/>
                  </a:lnTo>
                  <a:cubicBezTo>
                    <a:pt x="84348" y="232377"/>
                    <a:pt x="81792" y="234931"/>
                    <a:pt x="77958" y="234931"/>
                  </a:cubicBezTo>
                  <a:lnTo>
                    <a:pt x="70289" y="234931"/>
                  </a:lnTo>
                  <a:cubicBezTo>
                    <a:pt x="66456" y="234931"/>
                    <a:pt x="63899" y="232377"/>
                    <a:pt x="63899" y="228547"/>
                  </a:cubicBezTo>
                  <a:cubicBezTo>
                    <a:pt x="63899" y="224716"/>
                    <a:pt x="66456" y="222163"/>
                    <a:pt x="70289" y="222163"/>
                  </a:cubicBezTo>
                  <a:lnTo>
                    <a:pt x="71568" y="222163"/>
                  </a:lnTo>
                  <a:lnTo>
                    <a:pt x="71568" y="107251"/>
                  </a:lnTo>
                  <a:lnTo>
                    <a:pt x="70289" y="107251"/>
                  </a:lnTo>
                  <a:cubicBezTo>
                    <a:pt x="66456" y="107251"/>
                    <a:pt x="63899" y="104697"/>
                    <a:pt x="63899" y="100867"/>
                  </a:cubicBezTo>
                  <a:cubicBezTo>
                    <a:pt x="63899" y="97037"/>
                    <a:pt x="66456" y="94483"/>
                    <a:pt x="70289" y="94483"/>
                  </a:cubicBezTo>
                  <a:lnTo>
                    <a:pt x="77958" y="94483"/>
                  </a:lnTo>
                  <a:cubicBezTo>
                    <a:pt x="81792" y="94483"/>
                    <a:pt x="84348" y="97037"/>
                    <a:pt x="84348" y="100867"/>
                  </a:cubicBezTo>
                  <a:lnTo>
                    <a:pt x="84348" y="118104"/>
                  </a:lnTo>
                  <a:lnTo>
                    <a:pt x="157832" y="118104"/>
                  </a:lnTo>
                  <a:cubicBezTo>
                    <a:pt x="157832" y="118104"/>
                    <a:pt x="158471" y="118104"/>
                    <a:pt x="158471" y="118104"/>
                  </a:cubicBezTo>
                  <a:lnTo>
                    <a:pt x="186587" y="102782"/>
                  </a:lnTo>
                  <a:cubicBezTo>
                    <a:pt x="187864" y="102144"/>
                    <a:pt x="189782" y="101505"/>
                    <a:pt x="191059" y="102144"/>
                  </a:cubicBezTo>
                  <a:lnTo>
                    <a:pt x="246013" y="118104"/>
                  </a:lnTo>
                  <a:lnTo>
                    <a:pt x="278601" y="118104"/>
                  </a:lnTo>
                  <a:lnTo>
                    <a:pt x="278601" y="100867"/>
                  </a:lnTo>
                  <a:cubicBezTo>
                    <a:pt x="278601" y="97037"/>
                    <a:pt x="281157" y="94483"/>
                    <a:pt x="284991" y="94483"/>
                  </a:cubicBezTo>
                  <a:lnTo>
                    <a:pt x="292659" y="94483"/>
                  </a:lnTo>
                  <a:cubicBezTo>
                    <a:pt x="296493" y="94483"/>
                    <a:pt x="299049" y="97037"/>
                    <a:pt x="299049" y="100867"/>
                  </a:cubicBezTo>
                  <a:cubicBezTo>
                    <a:pt x="299049" y="104697"/>
                    <a:pt x="296493" y="107251"/>
                    <a:pt x="292659" y="107251"/>
                  </a:cubicBezTo>
                  <a:lnTo>
                    <a:pt x="291381" y="107251"/>
                  </a:lnTo>
                  <a:lnTo>
                    <a:pt x="291381" y="222163"/>
                  </a:lnTo>
                  <a:lnTo>
                    <a:pt x="292659" y="222163"/>
                  </a:lnTo>
                  <a:close/>
                </a:path>
              </a:pathLst>
            </a:custGeom>
            <a:grpFill/>
            <a:ln w="6390" cap="flat">
              <a:noFill/>
              <a:prstDash val="solid"/>
              <a:miter/>
            </a:ln>
          </p:spPr>
          <p:txBody>
            <a:bodyPr rtlCol="0" anchor="ctr"/>
            <a:lstStyle/>
            <a:p>
              <a:endParaRPr lang="en-US" sz="1432"/>
            </a:p>
          </p:txBody>
        </p:sp>
      </p:grpSp>
    </p:spTree>
    <p:extLst>
      <p:ext uri="{BB962C8B-B14F-4D97-AF65-F5344CB8AC3E}">
        <p14:creationId xmlns:p14="http://schemas.microsoft.com/office/powerpoint/2010/main" val="13471129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2324" name="think-cell data - do not delete" hidden="1">
            <a:extLst>
              <a:ext uri="{FF2B5EF4-FFF2-40B4-BE49-F238E27FC236}">
                <a16:creationId xmlns:a16="http://schemas.microsoft.com/office/drawing/2014/main" id="{B6146BD9-A8F0-5EED-7DAD-7E711BA6A575}"/>
              </a:ext>
            </a:extLst>
          </p:cNvPr>
          <p:cNvGraphicFramePr>
            <a:graphicFrameLocks noChangeAspect="1"/>
          </p:cNvGraphicFramePr>
          <p:nvPr>
            <p:custDataLst>
              <p:tags r:id="rId1"/>
            </p:custDataLst>
            <p:extLst>
              <p:ext uri="{D42A27DB-BD31-4B8C-83A1-F6EECF244321}">
                <p14:modId xmlns:p14="http://schemas.microsoft.com/office/powerpoint/2010/main" val="12038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324" name="think-cell data - do not delete" hidden="1">
                        <a:extLst>
                          <a:ext uri="{FF2B5EF4-FFF2-40B4-BE49-F238E27FC236}">
                            <a16:creationId xmlns:a16="http://schemas.microsoft.com/office/drawing/2014/main" id="{B6146BD9-A8F0-5EED-7DAD-7E711BA6A5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a:solidFill>
                  <a:srgbClr val="53565A"/>
                </a:solidFill>
                <a:cs typeface="Calibri" panose="020F0502020204030204" pitchFamily="34" charset="0"/>
              </a:rPr>
              <a:t>Ressourcen &amp; Budgets: Fehlende Priorisierung &amp; Transparenz</a:t>
            </a:r>
          </a:p>
          <a:p>
            <a:endParaRPr lang="en-GB">
              <a:solidFill>
                <a:srgbClr val="53565A"/>
              </a:solidFill>
              <a:cs typeface="Calibri" panose="020F0502020204030204" pitchFamily="34" charset="0"/>
            </a:endParaRP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dirty="0"/>
              <a:t>Finanzieller Druck</a:t>
            </a:r>
            <a:endParaRPr lang="en-GB" dirty="0"/>
          </a:p>
        </p:txBody>
      </p:sp>
      <p:sp>
        <p:nvSpPr>
          <p:cNvPr id="2" name="Rectangle 1">
            <a:extLst>
              <a:ext uri="{FF2B5EF4-FFF2-40B4-BE49-F238E27FC236}">
                <a16:creationId xmlns:a16="http://schemas.microsoft.com/office/drawing/2014/main" id="{D3368EED-B531-3BD3-C73D-1106F3929B74}"/>
              </a:ext>
            </a:extLst>
          </p:cNvPr>
          <p:cNvSpPr>
            <a:spLocks/>
          </p:cNvSpPr>
          <p:nvPr/>
        </p:nvSpPr>
        <p:spPr>
          <a:xfrm>
            <a:off x="468000" y="2192428"/>
            <a:ext cx="5495858" cy="2947796"/>
          </a:xfrm>
          <a:prstGeom prst="rect">
            <a:avLst/>
          </a:prstGeom>
          <a:solidFill>
            <a:schemeClr val="bg1">
              <a:lumMod val="95000"/>
            </a:schemeClr>
          </a:solidFill>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cxnSp>
        <p:nvCxnSpPr>
          <p:cNvPr id="13" name="Straight Connector 12">
            <a:extLst>
              <a:ext uri="{FF2B5EF4-FFF2-40B4-BE49-F238E27FC236}">
                <a16:creationId xmlns:a16="http://schemas.microsoft.com/office/drawing/2014/main" id="{DA10233F-0FBB-6758-30F6-48C8BB9FD726}"/>
              </a:ext>
            </a:extLst>
          </p:cNvPr>
          <p:cNvCxnSpPr>
            <a:cxnSpLocks/>
          </p:cNvCxnSpPr>
          <p:nvPr/>
        </p:nvCxnSpPr>
        <p:spPr>
          <a:xfrm>
            <a:off x="591826" y="1651702"/>
            <a:ext cx="541648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90FA270-CAC5-28C7-F133-A39FCD410125}"/>
              </a:ext>
            </a:extLst>
          </p:cNvPr>
          <p:cNvSpPr txBox="1"/>
          <p:nvPr/>
        </p:nvSpPr>
        <p:spPr>
          <a:xfrm>
            <a:off x="467999" y="1366840"/>
            <a:ext cx="4623803" cy="296105"/>
          </a:xfrm>
          <a:prstGeom prst="rect">
            <a:avLst/>
          </a:prstGeom>
          <a:noFill/>
          <a:ln w="28575">
            <a:noFill/>
          </a:ln>
        </p:spPr>
        <p:txBody>
          <a:bodyPr wrap="square" rtlCol="0" anchor="b">
            <a:noAutofit/>
          </a:bodyPr>
          <a:lstStyle/>
          <a:p>
            <a:pPr marL="0" marR="0" lvl="0" indent="0" algn="l" defTabSz="914400" eaLnBrk="1" fontAlgn="auto" latinLnBrk="0" hangingPunct="1">
              <a:lnSpc>
                <a:spcPct val="106000"/>
              </a:lnSpc>
              <a:spcBef>
                <a:spcPts val="0"/>
              </a:spcBef>
              <a:spcAft>
                <a:spcPts val="600"/>
              </a:spcAft>
              <a:buClrTx/>
              <a:buSzTx/>
              <a:buFontTx/>
              <a:buNone/>
              <a:tabLst/>
              <a:defRPr/>
            </a:pPr>
            <a:r>
              <a:rPr lang="de-AT" sz="1600" b="1">
                <a:solidFill>
                  <a:prstClr val="black"/>
                </a:solidFill>
                <a:latin typeface="Aptos" panose="020B0004020202020204" pitchFamily="34" charset="0"/>
                <a:ea typeface="Verdana" panose="020B0604030504040204" pitchFamily="34" charset="0"/>
                <a:cs typeface="Calibri Light" panose="020F0302020204030204" pitchFamily="34" charset="0"/>
              </a:rPr>
              <a:t>Budget vs. Priorität</a:t>
            </a:r>
            <a:endParaRPr kumimoji="0" lang="de-AT" sz="1600" b="1"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Calibri Light" panose="020F0302020204030204" pitchFamily="34" charset="0"/>
            </a:endParaRPr>
          </a:p>
        </p:txBody>
      </p:sp>
      <p:sp>
        <p:nvSpPr>
          <p:cNvPr id="16" name="TextBox 15">
            <a:extLst>
              <a:ext uri="{FF2B5EF4-FFF2-40B4-BE49-F238E27FC236}">
                <a16:creationId xmlns:a16="http://schemas.microsoft.com/office/drawing/2014/main" id="{1B0CD67A-B930-2A9A-CF02-0C9816735E88}"/>
              </a:ext>
            </a:extLst>
          </p:cNvPr>
          <p:cNvSpPr txBox="1"/>
          <p:nvPr/>
        </p:nvSpPr>
        <p:spPr>
          <a:xfrm>
            <a:off x="6307514" y="1364706"/>
            <a:ext cx="4186821" cy="296105"/>
          </a:xfrm>
          <a:prstGeom prst="rect">
            <a:avLst/>
          </a:prstGeom>
          <a:noFill/>
          <a:ln w="28575">
            <a:noFill/>
          </a:ln>
        </p:spPr>
        <p:txBody>
          <a:bodyPr wrap="square" rtlCol="0" anchor="b">
            <a:noAutofit/>
          </a:bodyPr>
          <a:lstStyle/>
          <a:p>
            <a:pPr marL="0" marR="0" lvl="0" indent="0" algn="l" defTabSz="914400" eaLnBrk="1" fontAlgn="auto" latinLnBrk="0" hangingPunct="1">
              <a:lnSpc>
                <a:spcPct val="106000"/>
              </a:lnSpc>
              <a:spcBef>
                <a:spcPts val="0"/>
              </a:spcBef>
              <a:spcAft>
                <a:spcPts val="600"/>
              </a:spcAft>
              <a:buClrTx/>
              <a:buSzTx/>
              <a:buFontTx/>
              <a:buNone/>
              <a:tabLst/>
              <a:defRPr/>
            </a:pPr>
            <a:r>
              <a:rPr kumimoji="0" lang="de-AT" sz="1600" b="1"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Calibri Light" panose="020F0302020204030204" pitchFamily="34" charset="0"/>
              </a:rPr>
              <a:t>Kernthemen</a:t>
            </a:r>
          </a:p>
        </p:txBody>
      </p:sp>
      <p:cxnSp>
        <p:nvCxnSpPr>
          <p:cNvPr id="15" name="Straight Connector 14">
            <a:extLst>
              <a:ext uri="{FF2B5EF4-FFF2-40B4-BE49-F238E27FC236}">
                <a16:creationId xmlns:a16="http://schemas.microsoft.com/office/drawing/2014/main" id="{50FE41F9-A83B-08AE-7F36-B2A99BE32805}"/>
              </a:ext>
            </a:extLst>
          </p:cNvPr>
          <p:cNvCxnSpPr>
            <a:cxnSpLocks/>
          </p:cNvCxnSpPr>
          <p:nvPr/>
        </p:nvCxnSpPr>
        <p:spPr>
          <a:xfrm>
            <a:off x="6294474" y="1649568"/>
            <a:ext cx="511724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56" name="Group 2255">
            <a:extLst>
              <a:ext uri="{FF2B5EF4-FFF2-40B4-BE49-F238E27FC236}">
                <a16:creationId xmlns:a16="http://schemas.microsoft.com/office/drawing/2014/main" id="{0EBE84C3-74F3-1F16-F136-65E6999402D5}"/>
              </a:ext>
            </a:extLst>
          </p:cNvPr>
          <p:cNvGrpSpPr>
            <a:grpSpLocks/>
          </p:cNvGrpSpPr>
          <p:nvPr/>
        </p:nvGrpSpPr>
        <p:grpSpPr>
          <a:xfrm>
            <a:off x="6336849" y="1986284"/>
            <a:ext cx="5068913" cy="990341"/>
            <a:chOff x="6336849" y="1733112"/>
            <a:chExt cx="5068913" cy="990341"/>
          </a:xfrm>
        </p:grpSpPr>
        <p:sp>
          <p:nvSpPr>
            <p:cNvPr id="2257" name="Rectangle 2256">
              <a:extLst>
                <a:ext uri="{FF2B5EF4-FFF2-40B4-BE49-F238E27FC236}">
                  <a16:creationId xmlns:a16="http://schemas.microsoft.com/office/drawing/2014/main" id="{97094BA3-7D22-F559-3CCF-31770C588710}"/>
                </a:ext>
              </a:extLst>
            </p:cNvPr>
            <p:cNvSpPr>
              <a:spLocks/>
            </p:cNvSpPr>
            <p:nvPr/>
          </p:nvSpPr>
          <p:spPr>
            <a:xfrm>
              <a:off x="6528990" y="1733112"/>
              <a:ext cx="4876772" cy="990341"/>
            </a:xfrm>
            <a:prstGeom prst="rect">
              <a:avLst/>
            </a:prstGeom>
            <a:solidFill>
              <a:srgbClr val="FFFFFF">
                <a:lumMod val="100000"/>
              </a:srgbClr>
            </a:solidFill>
            <a:ln w="12700" cap="flat" cmpd="sng" algn="ctr">
              <a:solidFill>
                <a:srgbClr val="14A2DD"/>
              </a:solidFill>
              <a:prstDash val="solid"/>
              <a:miter lim="800000"/>
              <a:headEnd type="none" w="med" len="med"/>
              <a:tailEnd type="none" w="med" len="med"/>
            </a:ln>
            <a:effectLst>
              <a:outerShdw blurRad="50800" dist="38100" dir="2700000" algn="tl" rotWithShape="0">
                <a:prstClr val="black">
                  <a:alpha val="40000"/>
                </a:prstClr>
              </a:outerShdw>
            </a:effectLst>
          </p:spPr>
          <p:txBody>
            <a:bodyPr lIns="288000" tIns="72000" rIns="72000" rtlCol="0" anchor="t"/>
            <a:lstStyle/>
            <a:p>
              <a:pPr marL="0" marR="0" lvl="0" indent="0" defTabSz="685184" eaLnBrk="1" fontAlgn="auto" latinLnBrk="0" hangingPunct="1">
                <a:lnSpc>
                  <a:spcPct val="110000"/>
                </a:lnSpc>
                <a:spcBef>
                  <a:spcPts val="0"/>
                </a:spcBef>
                <a:spcAft>
                  <a:spcPts val="300"/>
                </a:spcAft>
                <a:buClrTx/>
                <a:buSzTx/>
                <a:buFontTx/>
                <a:buNone/>
                <a:tabLst/>
                <a:defRPr/>
              </a:pPr>
              <a:r>
                <a:rPr lang="de-AT" sz="1200" b="1" dirty="0">
                  <a:solidFill>
                    <a:srgbClr val="14A2DD"/>
                  </a:solidFill>
                  <a:latin typeface="Aptos" panose="020B0004020202020204" pitchFamily="34" charset="0"/>
                </a:rPr>
                <a:t>Essenzielles unterfinanziert:</a:t>
              </a:r>
            </a:p>
            <a:p>
              <a:pPr marL="0" marR="0" lvl="0" indent="0" defTabSz="685184" eaLnBrk="1" fontAlgn="auto" latinLnBrk="0" hangingPunct="1">
                <a:lnSpc>
                  <a:spcPct val="110000"/>
                </a:lnSpc>
                <a:spcBef>
                  <a:spcPts val="0"/>
                </a:spcBef>
                <a:spcAft>
                  <a:spcPts val="300"/>
                </a:spcAft>
                <a:buClrTx/>
                <a:buSzTx/>
                <a:buFontTx/>
                <a:buNone/>
                <a:tabLst/>
                <a:defRPr/>
              </a:pPr>
              <a:r>
                <a:rPr kumimoji="0" lang="de-AT" sz="1100" i="0" strike="noStrike" kern="0" cap="none" spc="0" normalizeH="0" baseline="0" noProof="0" dirty="0">
                  <a:ln>
                    <a:noFill/>
                  </a:ln>
                  <a:solidFill>
                    <a:prstClr val="black"/>
                  </a:solidFill>
                  <a:effectLst/>
                  <a:uLnTx/>
                  <a:uFillTx/>
                  <a:latin typeface="Aptos" panose="020B0004020202020204" pitchFamily="34" charset="0"/>
                </a:rPr>
                <a:t>Budget ist vorhanden, wird aber nicht richtig eingesetzt. Kernmaßnahmen wie Patch-Management, Netzwerkschutz und Awareness-Programme werden unzureichend adressiert.</a:t>
              </a:r>
            </a:p>
          </p:txBody>
        </p:sp>
        <p:sp>
          <p:nvSpPr>
            <p:cNvPr id="2258" name="Rectangle 2257">
              <a:extLst>
                <a:ext uri="{FF2B5EF4-FFF2-40B4-BE49-F238E27FC236}">
                  <a16:creationId xmlns:a16="http://schemas.microsoft.com/office/drawing/2014/main" id="{28D8D3D6-D4DB-2515-FB6C-18C350E59304}"/>
                </a:ext>
              </a:extLst>
            </p:cNvPr>
            <p:cNvSpPr>
              <a:spLocks/>
            </p:cNvSpPr>
            <p:nvPr/>
          </p:nvSpPr>
          <p:spPr bwMode="gray">
            <a:xfrm>
              <a:off x="6450791" y="1733112"/>
              <a:ext cx="132123" cy="990000"/>
            </a:xfrm>
            <a:prstGeom prst="rect">
              <a:avLst/>
            </a:prstGeom>
            <a:solidFill>
              <a:srgbClr val="14A2DD"/>
            </a:solidFill>
            <a:ln w="19050" algn="ctr">
              <a:solidFill>
                <a:srgbClr val="14A2DD"/>
              </a:solidFill>
              <a:miter lim="800000"/>
              <a:headEnd/>
              <a:tailEnd/>
            </a:ln>
          </p:spPr>
          <p:txBody>
            <a:bodyPr wrap="square" lIns="88900" tIns="88900" rIns="88900" bIns="88900" rtlCol="0" anchor="ctr"/>
            <a:lstStyle/>
            <a:p>
              <a:pPr algn="ctr">
                <a:lnSpc>
                  <a:spcPct val="106000"/>
                </a:lnSpc>
              </a:pPr>
              <a:endParaRPr lang="de-AT" sz="1300">
                <a:solidFill>
                  <a:schemeClr val="bg1"/>
                </a:solidFill>
              </a:endParaRPr>
            </a:p>
          </p:txBody>
        </p:sp>
        <p:grpSp>
          <p:nvGrpSpPr>
            <p:cNvPr id="2259" name="Group 2258">
              <a:extLst>
                <a:ext uri="{FF2B5EF4-FFF2-40B4-BE49-F238E27FC236}">
                  <a16:creationId xmlns:a16="http://schemas.microsoft.com/office/drawing/2014/main" id="{B7E07E5B-22E4-860B-CE1F-AB5FA01FAEE4}"/>
                </a:ext>
              </a:extLst>
            </p:cNvPr>
            <p:cNvGrpSpPr>
              <a:grpSpLocks/>
            </p:cNvGrpSpPr>
            <p:nvPr/>
          </p:nvGrpSpPr>
          <p:grpSpPr>
            <a:xfrm>
              <a:off x="6336849" y="2048284"/>
              <a:ext cx="360007" cy="359998"/>
              <a:chOff x="6350957" y="1841086"/>
              <a:chExt cx="360007" cy="359998"/>
            </a:xfrm>
          </p:grpSpPr>
          <p:sp>
            <p:nvSpPr>
              <p:cNvPr id="2260" name="Oval 2259">
                <a:extLst>
                  <a:ext uri="{FF2B5EF4-FFF2-40B4-BE49-F238E27FC236}">
                    <a16:creationId xmlns:a16="http://schemas.microsoft.com/office/drawing/2014/main" id="{CD3C6DCC-25E4-3693-E7F9-DDFB8B58EE2A}"/>
                  </a:ext>
                </a:extLst>
              </p:cNvPr>
              <p:cNvSpPr/>
              <p:nvPr/>
            </p:nvSpPr>
            <p:spPr bwMode="gray">
              <a:xfrm>
                <a:off x="6367926" y="1859142"/>
                <a:ext cx="321112" cy="32111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300" err="1">
                  <a:solidFill>
                    <a:schemeClr val="bg1"/>
                  </a:solidFill>
                </a:endParaRPr>
              </a:p>
            </p:txBody>
          </p:sp>
          <p:grpSp>
            <p:nvGrpSpPr>
              <p:cNvPr id="2261" name="Graphic 1100">
                <a:extLst>
                  <a:ext uri="{FF2B5EF4-FFF2-40B4-BE49-F238E27FC236}">
                    <a16:creationId xmlns:a16="http://schemas.microsoft.com/office/drawing/2014/main" id="{10902EC9-B043-0B90-2FD7-CDD679CA6B80}"/>
                  </a:ext>
                </a:extLst>
              </p:cNvPr>
              <p:cNvGrpSpPr>
                <a:grpSpLocks/>
              </p:cNvGrpSpPr>
              <p:nvPr/>
            </p:nvGrpSpPr>
            <p:grpSpPr>
              <a:xfrm>
                <a:off x="6350957" y="1841086"/>
                <a:ext cx="360007" cy="359998"/>
                <a:chOff x="7193791" y="2375167"/>
                <a:chExt cx="361670" cy="361971"/>
              </a:xfrm>
              <a:solidFill>
                <a:srgbClr val="14A2DD"/>
              </a:solidFill>
            </p:grpSpPr>
            <p:sp>
              <p:nvSpPr>
                <p:cNvPr id="2262" name="Graphic 1100">
                  <a:extLst>
                    <a:ext uri="{FF2B5EF4-FFF2-40B4-BE49-F238E27FC236}">
                      <a16:creationId xmlns:a16="http://schemas.microsoft.com/office/drawing/2014/main" id="{170E4966-73A6-C470-637B-8936FB0AF055}"/>
                    </a:ext>
                  </a:extLst>
                </p:cNvPr>
                <p:cNvSpPr/>
                <p:nvPr/>
              </p:nvSpPr>
              <p:spPr>
                <a:xfrm>
                  <a:off x="7343315" y="2524552"/>
                  <a:ext cx="62621" cy="62562"/>
                </a:xfrm>
                <a:custGeom>
                  <a:avLst/>
                  <a:gdLst>
                    <a:gd name="connsiteX0" fmla="*/ 31311 w 62621"/>
                    <a:gd name="connsiteY0" fmla="*/ 0 h 62562"/>
                    <a:gd name="connsiteX1" fmla="*/ 0 w 62621"/>
                    <a:gd name="connsiteY1" fmla="*/ 31281 h 62562"/>
                    <a:gd name="connsiteX2" fmla="*/ 31311 w 62621"/>
                    <a:gd name="connsiteY2" fmla="*/ 62563 h 62562"/>
                    <a:gd name="connsiteX3" fmla="*/ 62622 w 62621"/>
                    <a:gd name="connsiteY3" fmla="*/ 31281 h 62562"/>
                    <a:gd name="connsiteX4" fmla="*/ 31311 w 62621"/>
                    <a:gd name="connsiteY4" fmla="*/ 0 h 62562"/>
                    <a:gd name="connsiteX5" fmla="*/ 31311 w 62621"/>
                    <a:gd name="connsiteY5" fmla="*/ 0 h 6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21" h="62562">
                      <a:moveTo>
                        <a:pt x="31311" y="0"/>
                      </a:moveTo>
                      <a:cubicBezTo>
                        <a:pt x="14058" y="0"/>
                        <a:pt x="0" y="14045"/>
                        <a:pt x="0" y="31281"/>
                      </a:cubicBezTo>
                      <a:cubicBezTo>
                        <a:pt x="0" y="48518"/>
                        <a:pt x="14058" y="62563"/>
                        <a:pt x="31311" y="62563"/>
                      </a:cubicBezTo>
                      <a:cubicBezTo>
                        <a:pt x="48564" y="62563"/>
                        <a:pt x="62622" y="48518"/>
                        <a:pt x="62622" y="31281"/>
                      </a:cubicBezTo>
                      <a:cubicBezTo>
                        <a:pt x="61983" y="14045"/>
                        <a:pt x="48564" y="0"/>
                        <a:pt x="31311" y="0"/>
                      </a:cubicBezTo>
                      <a:lnTo>
                        <a:pt x="31311" y="0"/>
                      </a:ln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sp>
              <p:nvSpPr>
                <p:cNvPr id="2263" name="Graphic 1100">
                  <a:extLst>
                    <a:ext uri="{FF2B5EF4-FFF2-40B4-BE49-F238E27FC236}">
                      <a16:creationId xmlns:a16="http://schemas.microsoft.com/office/drawing/2014/main" id="{A0C66279-FD86-C479-A8D4-1F5DA367E71B}"/>
                    </a:ext>
                  </a:extLst>
                </p:cNvPr>
                <p:cNvSpPr/>
                <p:nvPr/>
              </p:nvSpPr>
              <p:spPr>
                <a:xfrm>
                  <a:off x="7274304" y="2457042"/>
                  <a:ext cx="198726" cy="197584"/>
                </a:xfrm>
                <a:custGeom>
                  <a:avLst/>
                  <a:gdLst>
                    <a:gd name="connsiteX0" fmla="*/ 198727 w 198726"/>
                    <a:gd name="connsiteY0" fmla="*/ 91131 h 197584"/>
                    <a:gd name="connsiteX1" fmla="*/ 197449 w 198726"/>
                    <a:gd name="connsiteY1" fmla="*/ 82832 h 197584"/>
                    <a:gd name="connsiteX2" fmla="*/ 179557 w 198726"/>
                    <a:gd name="connsiteY2" fmla="*/ 82832 h 197584"/>
                    <a:gd name="connsiteX3" fmla="*/ 173167 w 198726"/>
                    <a:gd name="connsiteY3" fmla="*/ 78363 h 197584"/>
                    <a:gd name="connsiteX4" fmla="*/ 166138 w 198726"/>
                    <a:gd name="connsiteY4" fmla="*/ 62403 h 197584"/>
                    <a:gd name="connsiteX5" fmla="*/ 167416 w 198726"/>
                    <a:gd name="connsiteY5" fmla="*/ 54743 h 197584"/>
                    <a:gd name="connsiteX6" fmla="*/ 180196 w 198726"/>
                    <a:gd name="connsiteY6" fmla="*/ 41975 h 197584"/>
                    <a:gd name="connsiteX7" fmla="*/ 179557 w 198726"/>
                    <a:gd name="connsiteY7" fmla="*/ 41336 h 197584"/>
                    <a:gd name="connsiteX8" fmla="*/ 178918 w 198726"/>
                    <a:gd name="connsiteY8" fmla="*/ 40059 h 197584"/>
                    <a:gd name="connsiteX9" fmla="*/ 178279 w 198726"/>
                    <a:gd name="connsiteY9" fmla="*/ 39421 h 197584"/>
                    <a:gd name="connsiteX10" fmla="*/ 178279 w 198726"/>
                    <a:gd name="connsiteY10" fmla="*/ 39421 h 197584"/>
                    <a:gd name="connsiteX11" fmla="*/ 159748 w 198726"/>
                    <a:gd name="connsiteY11" fmla="*/ 20907 h 197584"/>
                    <a:gd name="connsiteX12" fmla="*/ 159748 w 198726"/>
                    <a:gd name="connsiteY12" fmla="*/ 20907 h 197584"/>
                    <a:gd name="connsiteX13" fmla="*/ 159110 w 198726"/>
                    <a:gd name="connsiteY13" fmla="*/ 20269 h 197584"/>
                    <a:gd name="connsiteX14" fmla="*/ 157831 w 198726"/>
                    <a:gd name="connsiteY14" fmla="*/ 19631 h 197584"/>
                    <a:gd name="connsiteX15" fmla="*/ 157192 w 198726"/>
                    <a:gd name="connsiteY15" fmla="*/ 18992 h 197584"/>
                    <a:gd name="connsiteX16" fmla="*/ 144412 w 198726"/>
                    <a:gd name="connsiteY16" fmla="*/ 31760 h 197584"/>
                    <a:gd name="connsiteX17" fmla="*/ 136745 w 198726"/>
                    <a:gd name="connsiteY17" fmla="*/ 33037 h 197584"/>
                    <a:gd name="connsiteX18" fmla="*/ 120130 w 198726"/>
                    <a:gd name="connsiteY18" fmla="*/ 26015 h 197584"/>
                    <a:gd name="connsiteX19" fmla="*/ 115658 w 198726"/>
                    <a:gd name="connsiteY19" fmla="*/ 19631 h 197584"/>
                    <a:gd name="connsiteX20" fmla="*/ 115658 w 198726"/>
                    <a:gd name="connsiteY20" fmla="*/ 1756 h 197584"/>
                    <a:gd name="connsiteX21" fmla="*/ 107350 w 198726"/>
                    <a:gd name="connsiteY21" fmla="*/ 479 h 197584"/>
                    <a:gd name="connsiteX22" fmla="*/ 91376 w 198726"/>
                    <a:gd name="connsiteY22" fmla="*/ 479 h 197584"/>
                    <a:gd name="connsiteX23" fmla="*/ 83069 w 198726"/>
                    <a:gd name="connsiteY23" fmla="*/ 1756 h 197584"/>
                    <a:gd name="connsiteX24" fmla="*/ 83069 w 198726"/>
                    <a:gd name="connsiteY24" fmla="*/ 19631 h 197584"/>
                    <a:gd name="connsiteX25" fmla="*/ 78596 w 198726"/>
                    <a:gd name="connsiteY25" fmla="*/ 26015 h 197584"/>
                    <a:gd name="connsiteX26" fmla="*/ 61982 w 198726"/>
                    <a:gd name="connsiteY26" fmla="*/ 33037 h 197584"/>
                    <a:gd name="connsiteX27" fmla="*/ 54314 w 198726"/>
                    <a:gd name="connsiteY27" fmla="*/ 31760 h 197584"/>
                    <a:gd name="connsiteX28" fmla="*/ 41535 w 198726"/>
                    <a:gd name="connsiteY28" fmla="*/ 18992 h 197584"/>
                    <a:gd name="connsiteX29" fmla="*/ 39617 w 198726"/>
                    <a:gd name="connsiteY29" fmla="*/ 20269 h 197584"/>
                    <a:gd name="connsiteX30" fmla="*/ 19809 w 198726"/>
                    <a:gd name="connsiteY30" fmla="*/ 40059 h 197584"/>
                    <a:gd name="connsiteX31" fmla="*/ 18531 w 198726"/>
                    <a:gd name="connsiteY31" fmla="*/ 41336 h 197584"/>
                    <a:gd name="connsiteX32" fmla="*/ 31311 w 198726"/>
                    <a:gd name="connsiteY32" fmla="*/ 54104 h 197584"/>
                    <a:gd name="connsiteX33" fmla="*/ 32589 w 198726"/>
                    <a:gd name="connsiteY33" fmla="*/ 61765 h 197584"/>
                    <a:gd name="connsiteX34" fmla="*/ 26199 w 198726"/>
                    <a:gd name="connsiteY34" fmla="*/ 78363 h 197584"/>
                    <a:gd name="connsiteX35" fmla="*/ 19809 w 198726"/>
                    <a:gd name="connsiteY35" fmla="*/ 82832 h 197584"/>
                    <a:gd name="connsiteX36" fmla="*/ 1917 w 198726"/>
                    <a:gd name="connsiteY36" fmla="*/ 82832 h 197584"/>
                    <a:gd name="connsiteX37" fmla="*/ 639 w 198726"/>
                    <a:gd name="connsiteY37" fmla="*/ 91131 h 197584"/>
                    <a:gd name="connsiteX38" fmla="*/ 0 w 198726"/>
                    <a:gd name="connsiteY38" fmla="*/ 98792 h 197584"/>
                    <a:gd name="connsiteX39" fmla="*/ 639 w 198726"/>
                    <a:gd name="connsiteY39" fmla="*/ 106453 h 197584"/>
                    <a:gd name="connsiteX40" fmla="*/ 1917 w 198726"/>
                    <a:gd name="connsiteY40" fmla="*/ 114752 h 197584"/>
                    <a:gd name="connsiteX41" fmla="*/ 19809 w 198726"/>
                    <a:gd name="connsiteY41" fmla="*/ 114752 h 197584"/>
                    <a:gd name="connsiteX42" fmla="*/ 26199 w 198726"/>
                    <a:gd name="connsiteY42" fmla="*/ 119221 h 197584"/>
                    <a:gd name="connsiteX43" fmla="*/ 32589 w 198726"/>
                    <a:gd name="connsiteY43" fmla="*/ 135819 h 197584"/>
                    <a:gd name="connsiteX44" fmla="*/ 31311 w 198726"/>
                    <a:gd name="connsiteY44" fmla="*/ 143480 h 197584"/>
                    <a:gd name="connsiteX45" fmla="*/ 18531 w 198726"/>
                    <a:gd name="connsiteY45" fmla="*/ 156248 h 197584"/>
                    <a:gd name="connsiteX46" fmla="*/ 19170 w 198726"/>
                    <a:gd name="connsiteY46" fmla="*/ 156886 h 197584"/>
                    <a:gd name="connsiteX47" fmla="*/ 19809 w 198726"/>
                    <a:gd name="connsiteY47" fmla="*/ 158163 h 197584"/>
                    <a:gd name="connsiteX48" fmla="*/ 20447 w 198726"/>
                    <a:gd name="connsiteY48" fmla="*/ 158802 h 197584"/>
                    <a:gd name="connsiteX49" fmla="*/ 20447 w 198726"/>
                    <a:gd name="connsiteY49" fmla="*/ 158802 h 197584"/>
                    <a:gd name="connsiteX50" fmla="*/ 38978 w 198726"/>
                    <a:gd name="connsiteY50" fmla="*/ 177315 h 197584"/>
                    <a:gd name="connsiteX51" fmla="*/ 38978 w 198726"/>
                    <a:gd name="connsiteY51" fmla="*/ 177315 h 197584"/>
                    <a:gd name="connsiteX52" fmla="*/ 39617 w 198726"/>
                    <a:gd name="connsiteY52" fmla="*/ 177953 h 197584"/>
                    <a:gd name="connsiteX53" fmla="*/ 40256 w 198726"/>
                    <a:gd name="connsiteY53" fmla="*/ 178592 h 197584"/>
                    <a:gd name="connsiteX54" fmla="*/ 40896 w 198726"/>
                    <a:gd name="connsiteY54" fmla="*/ 179230 h 197584"/>
                    <a:gd name="connsiteX55" fmla="*/ 53676 w 198726"/>
                    <a:gd name="connsiteY55" fmla="*/ 166462 h 197584"/>
                    <a:gd name="connsiteX56" fmla="*/ 61343 w 198726"/>
                    <a:gd name="connsiteY56" fmla="*/ 165186 h 197584"/>
                    <a:gd name="connsiteX57" fmla="*/ 77957 w 198726"/>
                    <a:gd name="connsiteY57" fmla="*/ 171569 h 197584"/>
                    <a:gd name="connsiteX58" fmla="*/ 82430 w 198726"/>
                    <a:gd name="connsiteY58" fmla="*/ 177953 h 197584"/>
                    <a:gd name="connsiteX59" fmla="*/ 82430 w 198726"/>
                    <a:gd name="connsiteY59" fmla="*/ 195829 h 197584"/>
                    <a:gd name="connsiteX60" fmla="*/ 90737 w 198726"/>
                    <a:gd name="connsiteY60" fmla="*/ 197105 h 197584"/>
                    <a:gd name="connsiteX61" fmla="*/ 106712 w 198726"/>
                    <a:gd name="connsiteY61" fmla="*/ 197105 h 197584"/>
                    <a:gd name="connsiteX62" fmla="*/ 115019 w 198726"/>
                    <a:gd name="connsiteY62" fmla="*/ 195829 h 197584"/>
                    <a:gd name="connsiteX63" fmla="*/ 115019 w 198726"/>
                    <a:gd name="connsiteY63" fmla="*/ 177953 h 197584"/>
                    <a:gd name="connsiteX64" fmla="*/ 119492 w 198726"/>
                    <a:gd name="connsiteY64" fmla="*/ 171569 h 197584"/>
                    <a:gd name="connsiteX65" fmla="*/ 136105 w 198726"/>
                    <a:gd name="connsiteY65" fmla="*/ 165186 h 197584"/>
                    <a:gd name="connsiteX66" fmla="*/ 143774 w 198726"/>
                    <a:gd name="connsiteY66" fmla="*/ 166462 h 197584"/>
                    <a:gd name="connsiteX67" fmla="*/ 156553 w 198726"/>
                    <a:gd name="connsiteY67" fmla="*/ 179230 h 197584"/>
                    <a:gd name="connsiteX68" fmla="*/ 158470 w 198726"/>
                    <a:gd name="connsiteY68" fmla="*/ 177953 h 197584"/>
                    <a:gd name="connsiteX69" fmla="*/ 178279 w 198726"/>
                    <a:gd name="connsiteY69" fmla="*/ 158163 h 197584"/>
                    <a:gd name="connsiteX70" fmla="*/ 179557 w 198726"/>
                    <a:gd name="connsiteY70" fmla="*/ 156248 h 197584"/>
                    <a:gd name="connsiteX71" fmla="*/ 166777 w 198726"/>
                    <a:gd name="connsiteY71" fmla="*/ 143480 h 197584"/>
                    <a:gd name="connsiteX72" fmla="*/ 165500 w 198726"/>
                    <a:gd name="connsiteY72" fmla="*/ 135819 h 197584"/>
                    <a:gd name="connsiteX73" fmla="*/ 172528 w 198726"/>
                    <a:gd name="connsiteY73" fmla="*/ 119221 h 197584"/>
                    <a:gd name="connsiteX74" fmla="*/ 178918 w 198726"/>
                    <a:gd name="connsiteY74" fmla="*/ 114752 h 197584"/>
                    <a:gd name="connsiteX75" fmla="*/ 196810 w 198726"/>
                    <a:gd name="connsiteY75" fmla="*/ 114752 h 197584"/>
                    <a:gd name="connsiteX76" fmla="*/ 198088 w 198726"/>
                    <a:gd name="connsiteY76" fmla="*/ 106453 h 197584"/>
                    <a:gd name="connsiteX77" fmla="*/ 198727 w 198726"/>
                    <a:gd name="connsiteY77" fmla="*/ 98792 h 197584"/>
                    <a:gd name="connsiteX78" fmla="*/ 198727 w 198726"/>
                    <a:gd name="connsiteY78" fmla="*/ 91131 h 197584"/>
                    <a:gd name="connsiteX79" fmla="*/ 198727 w 198726"/>
                    <a:gd name="connsiteY79" fmla="*/ 91131 h 197584"/>
                    <a:gd name="connsiteX80" fmla="*/ 100322 w 198726"/>
                    <a:gd name="connsiteY80" fmla="*/ 142842 h 197584"/>
                    <a:gd name="connsiteX81" fmla="*/ 56231 w 198726"/>
                    <a:gd name="connsiteY81" fmla="*/ 98792 h 197584"/>
                    <a:gd name="connsiteX82" fmla="*/ 100322 w 198726"/>
                    <a:gd name="connsiteY82" fmla="*/ 54743 h 197584"/>
                    <a:gd name="connsiteX83" fmla="*/ 144412 w 198726"/>
                    <a:gd name="connsiteY83" fmla="*/ 98792 h 197584"/>
                    <a:gd name="connsiteX84" fmla="*/ 144412 w 198726"/>
                    <a:gd name="connsiteY84" fmla="*/ 98792 h 197584"/>
                    <a:gd name="connsiteX85" fmla="*/ 100322 w 198726"/>
                    <a:gd name="connsiteY85" fmla="*/ 142842 h 19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98726" h="197584">
                      <a:moveTo>
                        <a:pt x="198727" y="91131"/>
                      </a:moveTo>
                      <a:cubicBezTo>
                        <a:pt x="198727" y="88578"/>
                        <a:pt x="198088" y="85386"/>
                        <a:pt x="197449" y="82832"/>
                      </a:cubicBezTo>
                      <a:lnTo>
                        <a:pt x="179557" y="82832"/>
                      </a:lnTo>
                      <a:cubicBezTo>
                        <a:pt x="176362" y="82832"/>
                        <a:pt x="173806" y="80917"/>
                        <a:pt x="173167" y="78363"/>
                      </a:cubicBezTo>
                      <a:cubicBezTo>
                        <a:pt x="171250" y="72618"/>
                        <a:pt x="169333" y="67511"/>
                        <a:pt x="166138" y="62403"/>
                      </a:cubicBezTo>
                      <a:cubicBezTo>
                        <a:pt x="164860" y="59850"/>
                        <a:pt x="164860" y="56658"/>
                        <a:pt x="167416" y="54743"/>
                      </a:cubicBezTo>
                      <a:lnTo>
                        <a:pt x="180196" y="41975"/>
                      </a:lnTo>
                      <a:lnTo>
                        <a:pt x="179557" y="41336"/>
                      </a:lnTo>
                      <a:lnTo>
                        <a:pt x="178918" y="40059"/>
                      </a:lnTo>
                      <a:lnTo>
                        <a:pt x="178279" y="39421"/>
                      </a:lnTo>
                      <a:lnTo>
                        <a:pt x="178279" y="39421"/>
                      </a:lnTo>
                      <a:cubicBezTo>
                        <a:pt x="173167" y="32399"/>
                        <a:pt x="166777" y="26015"/>
                        <a:pt x="159748" y="20907"/>
                      </a:cubicBezTo>
                      <a:lnTo>
                        <a:pt x="159748" y="20907"/>
                      </a:lnTo>
                      <a:lnTo>
                        <a:pt x="159110" y="20269"/>
                      </a:lnTo>
                      <a:lnTo>
                        <a:pt x="157831" y="19631"/>
                      </a:lnTo>
                      <a:lnTo>
                        <a:pt x="157192" y="18992"/>
                      </a:lnTo>
                      <a:lnTo>
                        <a:pt x="144412" y="31760"/>
                      </a:lnTo>
                      <a:cubicBezTo>
                        <a:pt x="142495" y="33675"/>
                        <a:pt x="139300" y="34314"/>
                        <a:pt x="136745" y="33037"/>
                      </a:cubicBezTo>
                      <a:cubicBezTo>
                        <a:pt x="131633" y="29845"/>
                        <a:pt x="125881" y="27930"/>
                        <a:pt x="120130" y="26015"/>
                      </a:cubicBezTo>
                      <a:cubicBezTo>
                        <a:pt x="117575" y="25376"/>
                        <a:pt x="115658" y="22823"/>
                        <a:pt x="115658" y="19631"/>
                      </a:cubicBezTo>
                      <a:lnTo>
                        <a:pt x="115658" y="1756"/>
                      </a:lnTo>
                      <a:cubicBezTo>
                        <a:pt x="113102" y="1117"/>
                        <a:pt x="109907" y="1117"/>
                        <a:pt x="107350" y="479"/>
                      </a:cubicBezTo>
                      <a:cubicBezTo>
                        <a:pt x="102239" y="-160"/>
                        <a:pt x="97127" y="-160"/>
                        <a:pt x="91376" y="479"/>
                      </a:cubicBezTo>
                      <a:cubicBezTo>
                        <a:pt x="88820" y="479"/>
                        <a:pt x="85625" y="1117"/>
                        <a:pt x="83069" y="1756"/>
                      </a:cubicBezTo>
                      <a:lnTo>
                        <a:pt x="83069" y="19631"/>
                      </a:lnTo>
                      <a:cubicBezTo>
                        <a:pt x="83069" y="22823"/>
                        <a:pt x="81152" y="25376"/>
                        <a:pt x="78596" y="26015"/>
                      </a:cubicBezTo>
                      <a:cubicBezTo>
                        <a:pt x="72845" y="27930"/>
                        <a:pt x="67094" y="29845"/>
                        <a:pt x="61982" y="33037"/>
                      </a:cubicBezTo>
                      <a:cubicBezTo>
                        <a:pt x="59426" y="34314"/>
                        <a:pt x="56231" y="33675"/>
                        <a:pt x="54314" y="31760"/>
                      </a:cubicBezTo>
                      <a:lnTo>
                        <a:pt x="41535" y="18992"/>
                      </a:lnTo>
                      <a:lnTo>
                        <a:pt x="39617" y="20269"/>
                      </a:lnTo>
                      <a:cubicBezTo>
                        <a:pt x="31950" y="26015"/>
                        <a:pt x="25560" y="32399"/>
                        <a:pt x="19809" y="40059"/>
                      </a:cubicBezTo>
                      <a:cubicBezTo>
                        <a:pt x="19170" y="40698"/>
                        <a:pt x="19170" y="41336"/>
                        <a:pt x="18531" y="41336"/>
                      </a:cubicBezTo>
                      <a:lnTo>
                        <a:pt x="31311" y="54104"/>
                      </a:lnTo>
                      <a:cubicBezTo>
                        <a:pt x="33227" y="56019"/>
                        <a:pt x="33866" y="59211"/>
                        <a:pt x="32589" y="61765"/>
                      </a:cubicBezTo>
                      <a:cubicBezTo>
                        <a:pt x="30032" y="66872"/>
                        <a:pt x="27476" y="72618"/>
                        <a:pt x="26199" y="78363"/>
                      </a:cubicBezTo>
                      <a:cubicBezTo>
                        <a:pt x="25560" y="80917"/>
                        <a:pt x="23004" y="82832"/>
                        <a:pt x="19809" y="82832"/>
                      </a:cubicBezTo>
                      <a:lnTo>
                        <a:pt x="1917" y="82832"/>
                      </a:lnTo>
                      <a:cubicBezTo>
                        <a:pt x="1278" y="85386"/>
                        <a:pt x="1278" y="88578"/>
                        <a:pt x="639" y="91131"/>
                      </a:cubicBezTo>
                      <a:cubicBezTo>
                        <a:pt x="0" y="93685"/>
                        <a:pt x="0" y="96239"/>
                        <a:pt x="0" y="98792"/>
                      </a:cubicBezTo>
                      <a:cubicBezTo>
                        <a:pt x="0" y="101346"/>
                        <a:pt x="0" y="103899"/>
                        <a:pt x="639" y="106453"/>
                      </a:cubicBezTo>
                      <a:cubicBezTo>
                        <a:pt x="1278" y="109007"/>
                        <a:pt x="1278" y="112199"/>
                        <a:pt x="1917" y="114752"/>
                      </a:cubicBezTo>
                      <a:lnTo>
                        <a:pt x="19809" y="114752"/>
                      </a:lnTo>
                      <a:cubicBezTo>
                        <a:pt x="23004" y="114752"/>
                        <a:pt x="25560" y="116667"/>
                        <a:pt x="26199" y="119221"/>
                      </a:cubicBezTo>
                      <a:cubicBezTo>
                        <a:pt x="27476" y="124966"/>
                        <a:pt x="30032" y="130074"/>
                        <a:pt x="32589" y="135819"/>
                      </a:cubicBezTo>
                      <a:cubicBezTo>
                        <a:pt x="33866" y="138373"/>
                        <a:pt x="33866" y="141565"/>
                        <a:pt x="31311" y="143480"/>
                      </a:cubicBezTo>
                      <a:lnTo>
                        <a:pt x="18531" y="156248"/>
                      </a:lnTo>
                      <a:lnTo>
                        <a:pt x="19170" y="156886"/>
                      </a:lnTo>
                      <a:lnTo>
                        <a:pt x="19809" y="158163"/>
                      </a:lnTo>
                      <a:lnTo>
                        <a:pt x="20447" y="158802"/>
                      </a:lnTo>
                      <a:lnTo>
                        <a:pt x="20447" y="158802"/>
                      </a:lnTo>
                      <a:cubicBezTo>
                        <a:pt x="25560" y="165824"/>
                        <a:pt x="31950" y="172208"/>
                        <a:pt x="38978" y="177315"/>
                      </a:cubicBezTo>
                      <a:lnTo>
                        <a:pt x="38978" y="177315"/>
                      </a:lnTo>
                      <a:lnTo>
                        <a:pt x="39617" y="177953"/>
                      </a:lnTo>
                      <a:lnTo>
                        <a:pt x="40256" y="178592"/>
                      </a:lnTo>
                      <a:lnTo>
                        <a:pt x="40896" y="179230"/>
                      </a:lnTo>
                      <a:lnTo>
                        <a:pt x="53676" y="166462"/>
                      </a:lnTo>
                      <a:cubicBezTo>
                        <a:pt x="55592" y="164547"/>
                        <a:pt x="58787" y="163909"/>
                        <a:pt x="61343" y="165186"/>
                      </a:cubicBezTo>
                      <a:cubicBezTo>
                        <a:pt x="66456" y="167739"/>
                        <a:pt x="72206" y="170293"/>
                        <a:pt x="77957" y="171569"/>
                      </a:cubicBezTo>
                      <a:cubicBezTo>
                        <a:pt x="80513" y="172208"/>
                        <a:pt x="82430" y="174761"/>
                        <a:pt x="82430" y="177953"/>
                      </a:cubicBezTo>
                      <a:lnTo>
                        <a:pt x="82430" y="195829"/>
                      </a:lnTo>
                      <a:cubicBezTo>
                        <a:pt x="84986" y="196467"/>
                        <a:pt x="88181" y="196467"/>
                        <a:pt x="90737" y="197105"/>
                      </a:cubicBezTo>
                      <a:cubicBezTo>
                        <a:pt x="95849" y="197744"/>
                        <a:pt x="100961" y="197744"/>
                        <a:pt x="106712" y="197105"/>
                      </a:cubicBezTo>
                      <a:cubicBezTo>
                        <a:pt x="109268" y="197105"/>
                        <a:pt x="112463" y="196467"/>
                        <a:pt x="115019" y="195829"/>
                      </a:cubicBezTo>
                      <a:lnTo>
                        <a:pt x="115019" y="177953"/>
                      </a:lnTo>
                      <a:cubicBezTo>
                        <a:pt x="115019" y="174761"/>
                        <a:pt x="116935" y="172208"/>
                        <a:pt x="119492" y="171569"/>
                      </a:cubicBezTo>
                      <a:cubicBezTo>
                        <a:pt x="125243" y="169654"/>
                        <a:pt x="130994" y="167739"/>
                        <a:pt x="136105" y="165186"/>
                      </a:cubicBezTo>
                      <a:cubicBezTo>
                        <a:pt x="138661" y="163909"/>
                        <a:pt x="141856" y="163909"/>
                        <a:pt x="143774" y="166462"/>
                      </a:cubicBezTo>
                      <a:lnTo>
                        <a:pt x="156553" y="179230"/>
                      </a:lnTo>
                      <a:lnTo>
                        <a:pt x="158470" y="177953"/>
                      </a:lnTo>
                      <a:cubicBezTo>
                        <a:pt x="166138" y="172208"/>
                        <a:pt x="172528" y="165824"/>
                        <a:pt x="178279" y="158163"/>
                      </a:cubicBezTo>
                      <a:cubicBezTo>
                        <a:pt x="178918" y="157525"/>
                        <a:pt x="178918" y="156886"/>
                        <a:pt x="179557" y="156248"/>
                      </a:cubicBezTo>
                      <a:lnTo>
                        <a:pt x="166777" y="143480"/>
                      </a:lnTo>
                      <a:cubicBezTo>
                        <a:pt x="164860" y="141565"/>
                        <a:pt x="164221" y="138373"/>
                        <a:pt x="165500" y="135819"/>
                      </a:cubicBezTo>
                      <a:cubicBezTo>
                        <a:pt x="168695" y="130712"/>
                        <a:pt x="170611" y="124966"/>
                        <a:pt x="172528" y="119221"/>
                      </a:cubicBezTo>
                      <a:cubicBezTo>
                        <a:pt x="173167" y="116667"/>
                        <a:pt x="175723" y="114752"/>
                        <a:pt x="178918" y="114752"/>
                      </a:cubicBezTo>
                      <a:lnTo>
                        <a:pt x="196810" y="114752"/>
                      </a:lnTo>
                      <a:cubicBezTo>
                        <a:pt x="197449" y="112199"/>
                        <a:pt x="197449" y="109007"/>
                        <a:pt x="198088" y="106453"/>
                      </a:cubicBezTo>
                      <a:cubicBezTo>
                        <a:pt x="198727" y="103899"/>
                        <a:pt x="198727" y="101346"/>
                        <a:pt x="198727" y="98792"/>
                      </a:cubicBezTo>
                      <a:cubicBezTo>
                        <a:pt x="198727" y="96239"/>
                        <a:pt x="198727" y="93685"/>
                        <a:pt x="198727" y="91131"/>
                      </a:cubicBezTo>
                      <a:lnTo>
                        <a:pt x="198727" y="91131"/>
                      </a:lnTo>
                      <a:close/>
                      <a:moveTo>
                        <a:pt x="100322" y="142842"/>
                      </a:moveTo>
                      <a:cubicBezTo>
                        <a:pt x="76040" y="142842"/>
                        <a:pt x="56231" y="123051"/>
                        <a:pt x="56231" y="98792"/>
                      </a:cubicBezTo>
                      <a:cubicBezTo>
                        <a:pt x="56231" y="74533"/>
                        <a:pt x="76040" y="54743"/>
                        <a:pt x="100322" y="54743"/>
                      </a:cubicBezTo>
                      <a:cubicBezTo>
                        <a:pt x="124604" y="54743"/>
                        <a:pt x="144412" y="74533"/>
                        <a:pt x="144412" y="98792"/>
                      </a:cubicBezTo>
                      <a:cubicBezTo>
                        <a:pt x="144412" y="98792"/>
                        <a:pt x="144412" y="98792"/>
                        <a:pt x="144412" y="98792"/>
                      </a:cubicBezTo>
                      <a:cubicBezTo>
                        <a:pt x="143774" y="123051"/>
                        <a:pt x="124604" y="142842"/>
                        <a:pt x="100322" y="142842"/>
                      </a:cubicBez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sp>
              <p:nvSpPr>
                <p:cNvPr id="2264" name="Graphic 1100">
                  <a:extLst>
                    <a:ext uri="{FF2B5EF4-FFF2-40B4-BE49-F238E27FC236}">
                      <a16:creationId xmlns:a16="http://schemas.microsoft.com/office/drawing/2014/main" id="{EFCFAFF4-4C17-4DA0-B3F7-67AF3F6CE42C}"/>
                    </a:ext>
                  </a:extLst>
                </p:cNvPr>
                <p:cNvSpPr/>
                <p:nvPr/>
              </p:nvSpPr>
              <p:spPr>
                <a:xfrm>
                  <a:off x="7193791" y="2375167"/>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292020 w 361670"/>
                    <a:gd name="connsiteY7" fmla="*/ 189604 h 361971"/>
                    <a:gd name="connsiteX8" fmla="*/ 290103 w 361670"/>
                    <a:gd name="connsiteY8" fmla="*/ 204926 h 361971"/>
                    <a:gd name="connsiteX9" fmla="*/ 283713 w 361670"/>
                    <a:gd name="connsiteY9" fmla="*/ 210033 h 361971"/>
                    <a:gd name="connsiteX10" fmla="*/ 265182 w 361670"/>
                    <a:gd name="connsiteY10" fmla="*/ 210033 h 361971"/>
                    <a:gd name="connsiteX11" fmla="*/ 260709 w 361670"/>
                    <a:gd name="connsiteY11" fmla="*/ 220247 h 361971"/>
                    <a:gd name="connsiteX12" fmla="*/ 274128 w 361670"/>
                    <a:gd name="connsiteY12" fmla="*/ 233654 h 361971"/>
                    <a:gd name="connsiteX13" fmla="*/ 274767 w 361670"/>
                    <a:gd name="connsiteY13" fmla="*/ 241315 h 361971"/>
                    <a:gd name="connsiteX14" fmla="*/ 270294 w 361670"/>
                    <a:gd name="connsiteY14" fmla="*/ 247699 h 361971"/>
                    <a:gd name="connsiteX15" fmla="*/ 247929 w 361670"/>
                    <a:gd name="connsiteY15" fmla="*/ 270043 h 361971"/>
                    <a:gd name="connsiteX16" fmla="*/ 241539 w 361670"/>
                    <a:gd name="connsiteY16" fmla="*/ 274511 h 361971"/>
                    <a:gd name="connsiteX17" fmla="*/ 233872 w 361670"/>
                    <a:gd name="connsiteY17" fmla="*/ 273873 h 361971"/>
                    <a:gd name="connsiteX18" fmla="*/ 220453 w 361670"/>
                    <a:gd name="connsiteY18" fmla="*/ 260467 h 361971"/>
                    <a:gd name="connsiteX19" fmla="*/ 210228 w 361670"/>
                    <a:gd name="connsiteY19" fmla="*/ 264935 h 361971"/>
                    <a:gd name="connsiteX20" fmla="*/ 210228 w 361670"/>
                    <a:gd name="connsiteY20" fmla="*/ 283449 h 361971"/>
                    <a:gd name="connsiteX21" fmla="*/ 205117 w 361670"/>
                    <a:gd name="connsiteY21" fmla="*/ 289833 h 361971"/>
                    <a:gd name="connsiteX22" fmla="*/ 189781 w 361670"/>
                    <a:gd name="connsiteY22" fmla="*/ 291748 h 361971"/>
                    <a:gd name="connsiteX23" fmla="*/ 180835 w 361670"/>
                    <a:gd name="connsiteY23" fmla="*/ 292387 h 361971"/>
                    <a:gd name="connsiteX24" fmla="*/ 171889 w 361670"/>
                    <a:gd name="connsiteY24" fmla="*/ 291748 h 361971"/>
                    <a:gd name="connsiteX25" fmla="*/ 156553 w 361670"/>
                    <a:gd name="connsiteY25" fmla="*/ 289833 h 361971"/>
                    <a:gd name="connsiteX26" fmla="*/ 151441 w 361670"/>
                    <a:gd name="connsiteY26" fmla="*/ 283449 h 361971"/>
                    <a:gd name="connsiteX27" fmla="*/ 151441 w 361670"/>
                    <a:gd name="connsiteY27" fmla="*/ 264935 h 361971"/>
                    <a:gd name="connsiteX28" fmla="*/ 141217 w 361670"/>
                    <a:gd name="connsiteY28" fmla="*/ 260467 h 361971"/>
                    <a:gd name="connsiteX29" fmla="*/ 127799 w 361670"/>
                    <a:gd name="connsiteY29" fmla="*/ 273873 h 361971"/>
                    <a:gd name="connsiteX30" fmla="*/ 120130 w 361670"/>
                    <a:gd name="connsiteY30" fmla="*/ 274511 h 361971"/>
                    <a:gd name="connsiteX31" fmla="*/ 114379 w 361670"/>
                    <a:gd name="connsiteY31" fmla="*/ 270681 h 361971"/>
                    <a:gd name="connsiteX32" fmla="*/ 114379 w 361670"/>
                    <a:gd name="connsiteY32" fmla="*/ 270681 h 361971"/>
                    <a:gd name="connsiteX33" fmla="*/ 113102 w 361670"/>
                    <a:gd name="connsiteY33" fmla="*/ 270043 h 361971"/>
                    <a:gd name="connsiteX34" fmla="*/ 112463 w 361670"/>
                    <a:gd name="connsiteY34" fmla="*/ 269404 h 361971"/>
                    <a:gd name="connsiteX35" fmla="*/ 91376 w 361670"/>
                    <a:gd name="connsiteY35" fmla="*/ 248337 h 361971"/>
                    <a:gd name="connsiteX36" fmla="*/ 90737 w 361670"/>
                    <a:gd name="connsiteY36" fmla="*/ 247699 h 361971"/>
                    <a:gd name="connsiteX37" fmla="*/ 90098 w 361670"/>
                    <a:gd name="connsiteY37" fmla="*/ 246422 h 361971"/>
                    <a:gd name="connsiteX38" fmla="*/ 90098 w 361670"/>
                    <a:gd name="connsiteY38" fmla="*/ 246422 h 361971"/>
                    <a:gd name="connsiteX39" fmla="*/ 86264 w 361670"/>
                    <a:gd name="connsiteY39" fmla="*/ 240676 h 361971"/>
                    <a:gd name="connsiteX40" fmla="*/ 86903 w 361670"/>
                    <a:gd name="connsiteY40" fmla="*/ 233015 h 361971"/>
                    <a:gd name="connsiteX41" fmla="*/ 99683 w 361670"/>
                    <a:gd name="connsiteY41" fmla="*/ 219609 h 361971"/>
                    <a:gd name="connsiteX42" fmla="*/ 95209 w 361670"/>
                    <a:gd name="connsiteY42" fmla="*/ 209395 h 361971"/>
                    <a:gd name="connsiteX43" fmla="*/ 76679 w 361670"/>
                    <a:gd name="connsiteY43" fmla="*/ 209395 h 361971"/>
                    <a:gd name="connsiteX44" fmla="*/ 70289 w 361670"/>
                    <a:gd name="connsiteY44" fmla="*/ 204287 h 361971"/>
                    <a:gd name="connsiteX45" fmla="*/ 68372 w 361670"/>
                    <a:gd name="connsiteY45" fmla="*/ 188966 h 361971"/>
                    <a:gd name="connsiteX46" fmla="*/ 67733 w 361670"/>
                    <a:gd name="connsiteY46" fmla="*/ 180028 h 361971"/>
                    <a:gd name="connsiteX47" fmla="*/ 68372 w 361670"/>
                    <a:gd name="connsiteY47" fmla="*/ 171091 h 361971"/>
                    <a:gd name="connsiteX48" fmla="*/ 70289 w 361670"/>
                    <a:gd name="connsiteY48" fmla="*/ 155769 h 361971"/>
                    <a:gd name="connsiteX49" fmla="*/ 76679 w 361670"/>
                    <a:gd name="connsiteY49" fmla="*/ 150662 h 361971"/>
                    <a:gd name="connsiteX50" fmla="*/ 95209 w 361670"/>
                    <a:gd name="connsiteY50" fmla="*/ 150662 h 361971"/>
                    <a:gd name="connsiteX51" fmla="*/ 99683 w 361670"/>
                    <a:gd name="connsiteY51" fmla="*/ 140448 h 361971"/>
                    <a:gd name="connsiteX52" fmla="*/ 86903 w 361670"/>
                    <a:gd name="connsiteY52" fmla="*/ 127041 h 361971"/>
                    <a:gd name="connsiteX53" fmla="*/ 86264 w 361670"/>
                    <a:gd name="connsiteY53" fmla="*/ 119381 h 361971"/>
                    <a:gd name="connsiteX54" fmla="*/ 90737 w 361670"/>
                    <a:gd name="connsiteY54" fmla="*/ 112997 h 361971"/>
                    <a:gd name="connsiteX55" fmla="*/ 113102 w 361670"/>
                    <a:gd name="connsiteY55" fmla="*/ 90653 h 361971"/>
                    <a:gd name="connsiteX56" fmla="*/ 120130 w 361670"/>
                    <a:gd name="connsiteY56" fmla="*/ 86184 h 361971"/>
                    <a:gd name="connsiteX57" fmla="*/ 127799 w 361670"/>
                    <a:gd name="connsiteY57" fmla="*/ 86822 h 361971"/>
                    <a:gd name="connsiteX58" fmla="*/ 141217 w 361670"/>
                    <a:gd name="connsiteY58" fmla="*/ 100229 h 361971"/>
                    <a:gd name="connsiteX59" fmla="*/ 151441 w 361670"/>
                    <a:gd name="connsiteY59" fmla="*/ 95760 h 361971"/>
                    <a:gd name="connsiteX60" fmla="*/ 151441 w 361670"/>
                    <a:gd name="connsiteY60" fmla="*/ 76608 h 361971"/>
                    <a:gd name="connsiteX61" fmla="*/ 156553 w 361670"/>
                    <a:gd name="connsiteY61" fmla="*/ 70224 h 361971"/>
                    <a:gd name="connsiteX62" fmla="*/ 171889 w 361670"/>
                    <a:gd name="connsiteY62" fmla="*/ 68309 h 361971"/>
                    <a:gd name="connsiteX63" fmla="*/ 189781 w 361670"/>
                    <a:gd name="connsiteY63" fmla="*/ 68309 h 361971"/>
                    <a:gd name="connsiteX64" fmla="*/ 205117 w 361670"/>
                    <a:gd name="connsiteY64" fmla="*/ 70224 h 361971"/>
                    <a:gd name="connsiteX65" fmla="*/ 210228 w 361670"/>
                    <a:gd name="connsiteY65" fmla="*/ 76608 h 361971"/>
                    <a:gd name="connsiteX66" fmla="*/ 210228 w 361670"/>
                    <a:gd name="connsiteY66" fmla="*/ 95760 h 361971"/>
                    <a:gd name="connsiteX67" fmla="*/ 220453 w 361670"/>
                    <a:gd name="connsiteY67" fmla="*/ 100229 h 361971"/>
                    <a:gd name="connsiteX68" fmla="*/ 233872 w 361670"/>
                    <a:gd name="connsiteY68" fmla="*/ 86822 h 361971"/>
                    <a:gd name="connsiteX69" fmla="*/ 241539 w 361670"/>
                    <a:gd name="connsiteY69" fmla="*/ 86184 h 361971"/>
                    <a:gd name="connsiteX70" fmla="*/ 247290 w 361670"/>
                    <a:gd name="connsiteY70" fmla="*/ 90014 h 361971"/>
                    <a:gd name="connsiteX71" fmla="*/ 247290 w 361670"/>
                    <a:gd name="connsiteY71" fmla="*/ 90014 h 361971"/>
                    <a:gd name="connsiteX72" fmla="*/ 248568 w 361670"/>
                    <a:gd name="connsiteY72" fmla="*/ 90653 h 361971"/>
                    <a:gd name="connsiteX73" fmla="*/ 249208 w 361670"/>
                    <a:gd name="connsiteY73" fmla="*/ 91291 h 361971"/>
                    <a:gd name="connsiteX74" fmla="*/ 270294 w 361670"/>
                    <a:gd name="connsiteY74" fmla="*/ 112358 h 361971"/>
                    <a:gd name="connsiteX75" fmla="*/ 270933 w 361670"/>
                    <a:gd name="connsiteY75" fmla="*/ 112997 h 361971"/>
                    <a:gd name="connsiteX76" fmla="*/ 271572 w 361670"/>
                    <a:gd name="connsiteY76" fmla="*/ 113635 h 361971"/>
                    <a:gd name="connsiteX77" fmla="*/ 271572 w 361670"/>
                    <a:gd name="connsiteY77" fmla="*/ 113635 h 361971"/>
                    <a:gd name="connsiteX78" fmla="*/ 275406 w 361670"/>
                    <a:gd name="connsiteY78" fmla="*/ 119381 h 361971"/>
                    <a:gd name="connsiteX79" fmla="*/ 274767 w 361670"/>
                    <a:gd name="connsiteY79" fmla="*/ 127041 h 361971"/>
                    <a:gd name="connsiteX80" fmla="*/ 261348 w 361670"/>
                    <a:gd name="connsiteY80" fmla="*/ 140448 h 361971"/>
                    <a:gd name="connsiteX81" fmla="*/ 265821 w 361670"/>
                    <a:gd name="connsiteY81" fmla="*/ 150662 h 361971"/>
                    <a:gd name="connsiteX82" fmla="*/ 284352 w 361670"/>
                    <a:gd name="connsiteY82" fmla="*/ 150662 h 361971"/>
                    <a:gd name="connsiteX83" fmla="*/ 290742 w 361670"/>
                    <a:gd name="connsiteY83" fmla="*/ 155769 h 361971"/>
                    <a:gd name="connsiteX84" fmla="*/ 292659 w 361670"/>
                    <a:gd name="connsiteY84" fmla="*/ 171091 h 361971"/>
                    <a:gd name="connsiteX85" fmla="*/ 293298 w 361670"/>
                    <a:gd name="connsiteY85" fmla="*/ 180028 h 361971"/>
                    <a:gd name="connsiteX86" fmla="*/ 292020 w 361670"/>
                    <a:gd name="connsiteY86" fmla="*/ 189604 h 361971"/>
                    <a:gd name="connsiteX87" fmla="*/ 292020 w 361670"/>
                    <a:gd name="connsiteY87" fmla="*/ 1896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61670" h="361971">
                      <a:moveTo>
                        <a:pt x="180835" y="0"/>
                      </a:moveTo>
                      <a:cubicBezTo>
                        <a:pt x="80513" y="0"/>
                        <a:pt x="0" y="81077"/>
                        <a:pt x="0" y="180667"/>
                      </a:cubicBezTo>
                      <a:cubicBezTo>
                        <a:pt x="0" y="280895"/>
                        <a:pt x="81152" y="361972"/>
                        <a:pt x="180835" y="361972"/>
                      </a:cubicBezTo>
                      <a:cubicBezTo>
                        <a:pt x="281157" y="361972"/>
                        <a:pt x="361670" y="280895"/>
                        <a:pt x="361670" y="181305"/>
                      </a:cubicBezTo>
                      <a:cubicBezTo>
                        <a:pt x="361670" y="181305"/>
                        <a:pt x="361670" y="181305"/>
                        <a:pt x="361670" y="181305"/>
                      </a:cubicBezTo>
                      <a:cubicBezTo>
                        <a:pt x="361670" y="81077"/>
                        <a:pt x="280518" y="0"/>
                        <a:pt x="180835" y="0"/>
                      </a:cubicBezTo>
                      <a:cubicBezTo>
                        <a:pt x="180835" y="0"/>
                        <a:pt x="180835" y="0"/>
                        <a:pt x="180835" y="0"/>
                      </a:cubicBezTo>
                      <a:close/>
                      <a:moveTo>
                        <a:pt x="292020" y="189604"/>
                      </a:moveTo>
                      <a:cubicBezTo>
                        <a:pt x="291381" y="194711"/>
                        <a:pt x="290742" y="199819"/>
                        <a:pt x="290103" y="204926"/>
                      </a:cubicBezTo>
                      <a:cubicBezTo>
                        <a:pt x="289464" y="208118"/>
                        <a:pt x="286908" y="210033"/>
                        <a:pt x="283713" y="210033"/>
                      </a:cubicBezTo>
                      <a:lnTo>
                        <a:pt x="265182" y="210033"/>
                      </a:lnTo>
                      <a:cubicBezTo>
                        <a:pt x="263904" y="213225"/>
                        <a:pt x="262626" y="217055"/>
                        <a:pt x="260709" y="220247"/>
                      </a:cubicBezTo>
                      <a:lnTo>
                        <a:pt x="274128" y="233654"/>
                      </a:lnTo>
                      <a:cubicBezTo>
                        <a:pt x="276045" y="235569"/>
                        <a:pt x="276684" y="239399"/>
                        <a:pt x="274767" y="241315"/>
                      </a:cubicBezTo>
                      <a:cubicBezTo>
                        <a:pt x="273489" y="243868"/>
                        <a:pt x="271572" y="245783"/>
                        <a:pt x="270294" y="247699"/>
                      </a:cubicBezTo>
                      <a:cubicBezTo>
                        <a:pt x="263904" y="255998"/>
                        <a:pt x="256236" y="263659"/>
                        <a:pt x="247929" y="270043"/>
                      </a:cubicBezTo>
                      <a:cubicBezTo>
                        <a:pt x="246013" y="271319"/>
                        <a:pt x="243456" y="273235"/>
                        <a:pt x="241539" y="274511"/>
                      </a:cubicBezTo>
                      <a:cubicBezTo>
                        <a:pt x="238983" y="276427"/>
                        <a:pt x="235788" y="275788"/>
                        <a:pt x="233872" y="273873"/>
                      </a:cubicBezTo>
                      <a:lnTo>
                        <a:pt x="220453" y="260467"/>
                      </a:lnTo>
                      <a:cubicBezTo>
                        <a:pt x="217258" y="262382"/>
                        <a:pt x="214063" y="263659"/>
                        <a:pt x="210228" y="264935"/>
                      </a:cubicBezTo>
                      <a:lnTo>
                        <a:pt x="210228" y="283449"/>
                      </a:lnTo>
                      <a:cubicBezTo>
                        <a:pt x="210228" y="286641"/>
                        <a:pt x="208312" y="289195"/>
                        <a:pt x="205117" y="289833"/>
                      </a:cubicBezTo>
                      <a:cubicBezTo>
                        <a:pt x="200005" y="291110"/>
                        <a:pt x="194893" y="291748"/>
                        <a:pt x="189781" y="291748"/>
                      </a:cubicBezTo>
                      <a:cubicBezTo>
                        <a:pt x="186586" y="291748"/>
                        <a:pt x="184030" y="292387"/>
                        <a:pt x="180835" y="292387"/>
                      </a:cubicBezTo>
                      <a:cubicBezTo>
                        <a:pt x="177640" y="292387"/>
                        <a:pt x="175084" y="292387"/>
                        <a:pt x="171889" y="291748"/>
                      </a:cubicBezTo>
                      <a:cubicBezTo>
                        <a:pt x="166777" y="291110"/>
                        <a:pt x="161665" y="290471"/>
                        <a:pt x="156553" y="289833"/>
                      </a:cubicBezTo>
                      <a:cubicBezTo>
                        <a:pt x="153358" y="289195"/>
                        <a:pt x="151441" y="286641"/>
                        <a:pt x="151441" y="283449"/>
                      </a:cubicBezTo>
                      <a:lnTo>
                        <a:pt x="151441" y="264935"/>
                      </a:lnTo>
                      <a:cubicBezTo>
                        <a:pt x="148246" y="263659"/>
                        <a:pt x="144412" y="262382"/>
                        <a:pt x="141217" y="260467"/>
                      </a:cubicBezTo>
                      <a:lnTo>
                        <a:pt x="127799" y="273873"/>
                      </a:lnTo>
                      <a:cubicBezTo>
                        <a:pt x="125881" y="275788"/>
                        <a:pt x="122048" y="276427"/>
                        <a:pt x="120130" y="274511"/>
                      </a:cubicBezTo>
                      <a:cubicBezTo>
                        <a:pt x="118214" y="273235"/>
                        <a:pt x="116297" y="271958"/>
                        <a:pt x="114379" y="270681"/>
                      </a:cubicBezTo>
                      <a:lnTo>
                        <a:pt x="114379" y="270681"/>
                      </a:lnTo>
                      <a:lnTo>
                        <a:pt x="113102" y="270043"/>
                      </a:lnTo>
                      <a:lnTo>
                        <a:pt x="112463" y="269404"/>
                      </a:lnTo>
                      <a:cubicBezTo>
                        <a:pt x="104794" y="263659"/>
                        <a:pt x="97766" y="256636"/>
                        <a:pt x="91376" y="248337"/>
                      </a:cubicBezTo>
                      <a:lnTo>
                        <a:pt x="90737" y="247699"/>
                      </a:lnTo>
                      <a:cubicBezTo>
                        <a:pt x="90737" y="247699"/>
                        <a:pt x="90098" y="247060"/>
                        <a:pt x="90098" y="246422"/>
                      </a:cubicBezTo>
                      <a:lnTo>
                        <a:pt x="90098" y="246422"/>
                      </a:lnTo>
                      <a:cubicBezTo>
                        <a:pt x="88820" y="244507"/>
                        <a:pt x="87542" y="242591"/>
                        <a:pt x="86264" y="240676"/>
                      </a:cubicBezTo>
                      <a:cubicBezTo>
                        <a:pt x="84347" y="238123"/>
                        <a:pt x="84986" y="234931"/>
                        <a:pt x="86903" y="233015"/>
                      </a:cubicBezTo>
                      <a:lnTo>
                        <a:pt x="99683" y="219609"/>
                      </a:lnTo>
                      <a:cubicBezTo>
                        <a:pt x="98404" y="216417"/>
                        <a:pt x="96488" y="213225"/>
                        <a:pt x="95209" y="209395"/>
                      </a:cubicBezTo>
                      <a:lnTo>
                        <a:pt x="76679" y="209395"/>
                      </a:lnTo>
                      <a:cubicBezTo>
                        <a:pt x="73484" y="209395"/>
                        <a:pt x="70928" y="207479"/>
                        <a:pt x="70289" y="204287"/>
                      </a:cubicBezTo>
                      <a:cubicBezTo>
                        <a:pt x="69011" y="199180"/>
                        <a:pt x="68372" y="194073"/>
                        <a:pt x="68372" y="188966"/>
                      </a:cubicBezTo>
                      <a:cubicBezTo>
                        <a:pt x="68372" y="185774"/>
                        <a:pt x="67733" y="183220"/>
                        <a:pt x="67733" y="180028"/>
                      </a:cubicBezTo>
                      <a:cubicBezTo>
                        <a:pt x="67733" y="176836"/>
                        <a:pt x="67733" y="174283"/>
                        <a:pt x="68372" y="171091"/>
                      </a:cubicBezTo>
                      <a:cubicBezTo>
                        <a:pt x="69011" y="165984"/>
                        <a:pt x="69650" y="160876"/>
                        <a:pt x="70289" y="155769"/>
                      </a:cubicBezTo>
                      <a:cubicBezTo>
                        <a:pt x="70928" y="152577"/>
                        <a:pt x="73484" y="150662"/>
                        <a:pt x="76679" y="150662"/>
                      </a:cubicBezTo>
                      <a:lnTo>
                        <a:pt x="95209" y="150662"/>
                      </a:lnTo>
                      <a:cubicBezTo>
                        <a:pt x="96488" y="147470"/>
                        <a:pt x="97766" y="143640"/>
                        <a:pt x="99683" y="140448"/>
                      </a:cubicBezTo>
                      <a:lnTo>
                        <a:pt x="86903" y="127041"/>
                      </a:lnTo>
                      <a:cubicBezTo>
                        <a:pt x="84986" y="125126"/>
                        <a:pt x="84347" y="121296"/>
                        <a:pt x="86264" y="119381"/>
                      </a:cubicBezTo>
                      <a:cubicBezTo>
                        <a:pt x="87542" y="116827"/>
                        <a:pt x="89459" y="114912"/>
                        <a:pt x="90737" y="112997"/>
                      </a:cubicBezTo>
                      <a:cubicBezTo>
                        <a:pt x="97127" y="104697"/>
                        <a:pt x="104794" y="97037"/>
                        <a:pt x="113102" y="90653"/>
                      </a:cubicBezTo>
                      <a:cubicBezTo>
                        <a:pt x="115019" y="89376"/>
                        <a:pt x="117574" y="87461"/>
                        <a:pt x="120130" y="86184"/>
                      </a:cubicBezTo>
                      <a:cubicBezTo>
                        <a:pt x="122686" y="84269"/>
                        <a:pt x="125881" y="84907"/>
                        <a:pt x="127799" y="86822"/>
                      </a:cubicBezTo>
                      <a:lnTo>
                        <a:pt x="141217" y="100229"/>
                      </a:lnTo>
                      <a:cubicBezTo>
                        <a:pt x="144412" y="98313"/>
                        <a:pt x="147607" y="97037"/>
                        <a:pt x="151441" y="95760"/>
                      </a:cubicBezTo>
                      <a:lnTo>
                        <a:pt x="151441" y="76608"/>
                      </a:lnTo>
                      <a:cubicBezTo>
                        <a:pt x="151441" y="73416"/>
                        <a:pt x="153358" y="70862"/>
                        <a:pt x="156553" y="70224"/>
                      </a:cubicBezTo>
                      <a:cubicBezTo>
                        <a:pt x="161665" y="68947"/>
                        <a:pt x="166777" y="68309"/>
                        <a:pt x="171889" y="68309"/>
                      </a:cubicBezTo>
                      <a:cubicBezTo>
                        <a:pt x="177640" y="67670"/>
                        <a:pt x="183391" y="67670"/>
                        <a:pt x="189781" y="68309"/>
                      </a:cubicBezTo>
                      <a:cubicBezTo>
                        <a:pt x="194893" y="68947"/>
                        <a:pt x="200005" y="69586"/>
                        <a:pt x="205117" y="70224"/>
                      </a:cubicBezTo>
                      <a:cubicBezTo>
                        <a:pt x="208312" y="70862"/>
                        <a:pt x="210228" y="73416"/>
                        <a:pt x="210228" y="76608"/>
                      </a:cubicBezTo>
                      <a:lnTo>
                        <a:pt x="210228" y="95760"/>
                      </a:lnTo>
                      <a:cubicBezTo>
                        <a:pt x="213423" y="97037"/>
                        <a:pt x="217258" y="98313"/>
                        <a:pt x="220453" y="100229"/>
                      </a:cubicBezTo>
                      <a:lnTo>
                        <a:pt x="233872" y="86822"/>
                      </a:lnTo>
                      <a:cubicBezTo>
                        <a:pt x="235788" y="84907"/>
                        <a:pt x="238983" y="84269"/>
                        <a:pt x="241539" y="86184"/>
                      </a:cubicBezTo>
                      <a:cubicBezTo>
                        <a:pt x="243456" y="87461"/>
                        <a:pt x="245373" y="88738"/>
                        <a:pt x="247290" y="90014"/>
                      </a:cubicBezTo>
                      <a:lnTo>
                        <a:pt x="247290" y="90014"/>
                      </a:lnTo>
                      <a:lnTo>
                        <a:pt x="248568" y="90653"/>
                      </a:lnTo>
                      <a:lnTo>
                        <a:pt x="249208" y="91291"/>
                      </a:lnTo>
                      <a:cubicBezTo>
                        <a:pt x="256875" y="97037"/>
                        <a:pt x="263904" y="104059"/>
                        <a:pt x="270294" y="112358"/>
                      </a:cubicBezTo>
                      <a:lnTo>
                        <a:pt x="270933" y="112997"/>
                      </a:lnTo>
                      <a:lnTo>
                        <a:pt x="271572" y="113635"/>
                      </a:lnTo>
                      <a:lnTo>
                        <a:pt x="271572" y="113635"/>
                      </a:lnTo>
                      <a:cubicBezTo>
                        <a:pt x="272850" y="115550"/>
                        <a:pt x="274128" y="117465"/>
                        <a:pt x="275406" y="119381"/>
                      </a:cubicBezTo>
                      <a:cubicBezTo>
                        <a:pt x="277323" y="121934"/>
                        <a:pt x="276684" y="125126"/>
                        <a:pt x="274767" y="127041"/>
                      </a:cubicBezTo>
                      <a:lnTo>
                        <a:pt x="261348" y="140448"/>
                      </a:lnTo>
                      <a:cubicBezTo>
                        <a:pt x="263265" y="143640"/>
                        <a:pt x="264543" y="146832"/>
                        <a:pt x="265821" y="150662"/>
                      </a:cubicBezTo>
                      <a:lnTo>
                        <a:pt x="284352" y="150662"/>
                      </a:lnTo>
                      <a:cubicBezTo>
                        <a:pt x="287547" y="150662"/>
                        <a:pt x="290103" y="152577"/>
                        <a:pt x="290742" y="155769"/>
                      </a:cubicBezTo>
                      <a:cubicBezTo>
                        <a:pt x="292020" y="160876"/>
                        <a:pt x="292659" y="165984"/>
                        <a:pt x="292659" y="171091"/>
                      </a:cubicBezTo>
                      <a:cubicBezTo>
                        <a:pt x="292659" y="174283"/>
                        <a:pt x="293298" y="176836"/>
                        <a:pt x="293298" y="180028"/>
                      </a:cubicBezTo>
                      <a:cubicBezTo>
                        <a:pt x="293298" y="183220"/>
                        <a:pt x="292020" y="187051"/>
                        <a:pt x="292020" y="189604"/>
                      </a:cubicBezTo>
                      <a:lnTo>
                        <a:pt x="292020" y="189604"/>
                      </a:ln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grpSp>
        </p:grpSp>
      </p:grpSp>
      <p:sp>
        <p:nvSpPr>
          <p:cNvPr id="2267" name="Rectangle 61">
            <a:extLst>
              <a:ext uri="{FF2B5EF4-FFF2-40B4-BE49-F238E27FC236}">
                <a16:creationId xmlns:a16="http://schemas.microsoft.com/office/drawing/2014/main" id="{5DAE2A6C-84A6-C8D1-6559-498453340C33}"/>
              </a:ext>
            </a:extLst>
          </p:cNvPr>
          <p:cNvSpPr>
            <a:spLocks/>
          </p:cNvSpPr>
          <p:nvPr/>
        </p:nvSpPr>
        <p:spPr>
          <a:xfrm>
            <a:off x="6528989" y="4220139"/>
            <a:ext cx="4876773" cy="990341"/>
          </a:xfrm>
          <a:prstGeom prst="rect">
            <a:avLst/>
          </a:prstGeom>
          <a:solidFill>
            <a:srgbClr val="FFFFFF">
              <a:lumMod val="100000"/>
            </a:srgbClr>
          </a:solidFill>
          <a:ln w="12700" cap="flat" cmpd="sng" algn="ctr">
            <a:solidFill>
              <a:srgbClr val="87BD27"/>
            </a:solidFill>
            <a:prstDash val="solid"/>
            <a:miter lim="800000"/>
            <a:headEnd type="none" w="med" len="med"/>
            <a:tailEnd type="none" w="med" len="med"/>
          </a:ln>
          <a:effectLst>
            <a:outerShdw blurRad="50800" dist="38100" dir="2700000" algn="tl" rotWithShape="0">
              <a:prstClr val="black">
                <a:alpha val="40000"/>
              </a:prstClr>
            </a:outerShdw>
          </a:effectLst>
        </p:spPr>
        <p:txBody>
          <a:bodyPr lIns="288000" tIns="72000" rIns="72000" rtlCol="0" anchor="t"/>
          <a:lstStyle/>
          <a:p>
            <a:pPr defTabSz="685184">
              <a:lnSpc>
                <a:spcPct val="110000"/>
              </a:lnSpc>
              <a:spcAft>
                <a:spcPts val="300"/>
              </a:spcAft>
              <a:defRPr/>
            </a:pPr>
            <a:r>
              <a:rPr lang="de-AT" sz="1200" b="1">
                <a:solidFill>
                  <a:srgbClr val="14A2DD"/>
                </a:solidFill>
                <a:latin typeface="Aptos" panose="020B0004020202020204" pitchFamily="34" charset="0"/>
              </a:rPr>
              <a:t>Fehlende Priorisierung &amp; Transparenz</a:t>
            </a:r>
          </a:p>
          <a:p>
            <a:pPr defTabSz="685184">
              <a:lnSpc>
                <a:spcPct val="110000"/>
              </a:lnSpc>
              <a:spcAft>
                <a:spcPts val="300"/>
              </a:spcAft>
              <a:defRPr/>
            </a:pPr>
            <a:r>
              <a:rPr lang="de-AT" sz="1100" kern="0">
                <a:solidFill>
                  <a:prstClr val="black"/>
                </a:solidFill>
                <a:latin typeface="Aptos" panose="020B0004020202020204" pitchFamily="34" charset="0"/>
              </a:rPr>
              <a:t>Ressourcen werden ineffizient verteilt, Verantwortlichkeiten bleiben unklar, und wichtige Sicherheitsinitiativen geraten ins Hintertreffen.</a:t>
            </a:r>
          </a:p>
          <a:p>
            <a:pPr defTabSz="685184">
              <a:lnSpc>
                <a:spcPct val="110000"/>
              </a:lnSpc>
              <a:defRPr/>
            </a:pPr>
            <a:endParaRPr kumimoji="0" lang="de-AT" sz="1100" i="0" strike="noStrike" kern="0" cap="none" spc="0" normalizeH="0" baseline="0" noProof="0">
              <a:ln>
                <a:noFill/>
              </a:ln>
              <a:solidFill>
                <a:prstClr val="black"/>
              </a:solidFill>
              <a:effectLst/>
              <a:uLnTx/>
              <a:uFillTx/>
              <a:latin typeface="+mj-lt"/>
            </a:endParaRPr>
          </a:p>
        </p:txBody>
      </p:sp>
      <p:sp>
        <p:nvSpPr>
          <p:cNvPr id="2268" name="Rectangle 2267">
            <a:extLst>
              <a:ext uri="{FF2B5EF4-FFF2-40B4-BE49-F238E27FC236}">
                <a16:creationId xmlns:a16="http://schemas.microsoft.com/office/drawing/2014/main" id="{86E7C4B4-E1FE-269C-4B58-ACC9F03FDD30}"/>
              </a:ext>
            </a:extLst>
          </p:cNvPr>
          <p:cNvSpPr>
            <a:spLocks/>
          </p:cNvSpPr>
          <p:nvPr/>
        </p:nvSpPr>
        <p:spPr bwMode="gray">
          <a:xfrm>
            <a:off x="6450791" y="4220309"/>
            <a:ext cx="132123" cy="990000"/>
          </a:xfrm>
          <a:prstGeom prst="rect">
            <a:avLst/>
          </a:prstGeom>
          <a:solidFill>
            <a:srgbClr val="14A2DD"/>
          </a:solidFill>
          <a:ln w="19050" algn="ctr">
            <a:solidFill>
              <a:srgbClr val="14A2D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300" err="1">
              <a:solidFill>
                <a:schemeClr val="bg1"/>
              </a:solidFill>
            </a:endParaRPr>
          </a:p>
        </p:txBody>
      </p:sp>
      <p:grpSp>
        <p:nvGrpSpPr>
          <p:cNvPr id="2269" name="Group 2268">
            <a:extLst>
              <a:ext uri="{FF2B5EF4-FFF2-40B4-BE49-F238E27FC236}">
                <a16:creationId xmlns:a16="http://schemas.microsoft.com/office/drawing/2014/main" id="{29017758-FC3E-EBBE-FF11-D083B2E8A799}"/>
              </a:ext>
            </a:extLst>
          </p:cNvPr>
          <p:cNvGrpSpPr>
            <a:grpSpLocks/>
          </p:cNvGrpSpPr>
          <p:nvPr/>
        </p:nvGrpSpPr>
        <p:grpSpPr>
          <a:xfrm>
            <a:off x="6336850" y="4535312"/>
            <a:ext cx="360005" cy="359996"/>
            <a:chOff x="6336850" y="3177930"/>
            <a:chExt cx="360005" cy="359996"/>
          </a:xfrm>
        </p:grpSpPr>
        <p:sp>
          <p:nvSpPr>
            <p:cNvPr id="2270" name="Oval 62">
              <a:extLst>
                <a:ext uri="{FF2B5EF4-FFF2-40B4-BE49-F238E27FC236}">
                  <a16:creationId xmlns:a16="http://schemas.microsoft.com/office/drawing/2014/main" id="{5B2DEBB5-343A-4CF3-47B7-B71F245600AE}"/>
                </a:ext>
              </a:extLst>
            </p:cNvPr>
            <p:cNvSpPr/>
            <p:nvPr/>
          </p:nvSpPr>
          <p:spPr bwMode="gray">
            <a:xfrm>
              <a:off x="6359441" y="3212009"/>
              <a:ext cx="321112" cy="32111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300" err="1">
                <a:solidFill>
                  <a:schemeClr val="bg1"/>
                </a:solidFill>
              </a:endParaRPr>
            </a:p>
          </p:txBody>
        </p:sp>
        <p:grpSp>
          <p:nvGrpSpPr>
            <p:cNvPr id="2273" name="Graphic 4">
              <a:extLst>
                <a:ext uri="{FF2B5EF4-FFF2-40B4-BE49-F238E27FC236}">
                  <a16:creationId xmlns:a16="http://schemas.microsoft.com/office/drawing/2014/main" id="{EE620883-AD47-B03F-27CE-37167D99815B}"/>
                </a:ext>
              </a:extLst>
            </p:cNvPr>
            <p:cNvGrpSpPr>
              <a:grpSpLocks/>
            </p:cNvGrpSpPr>
            <p:nvPr/>
          </p:nvGrpSpPr>
          <p:grpSpPr>
            <a:xfrm>
              <a:off x="6336850" y="3177930"/>
              <a:ext cx="360005" cy="359996"/>
              <a:chOff x="1952125" y="3339623"/>
              <a:chExt cx="362313" cy="361971"/>
            </a:xfrm>
            <a:solidFill>
              <a:srgbClr val="87BD27"/>
            </a:solidFill>
          </p:grpSpPr>
          <p:sp>
            <p:nvSpPr>
              <p:cNvPr id="2276" name="Graphic 4">
                <a:extLst>
                  <a:ext uri="{FF2B5EF4-FFF2-40B4-BE49-F238E27FC236}">
                    <a16:creationId xmlns:a16="http://schemas.microsoft.com/office/drawing/2014/main" id="{1CA7F16D-EE37-A24C-CEF1-FFEA73C9A8AF}"/>
                  </a:ext>
                </a:extLst>
              </p:cNvPr>
              <p:cNvSpPr/>
              <p:nvPr/>
            </p:nvSpPr>
            <p:spPr>
              <a:xfrm>
                <a:off x="2034555" y="3438575"/>
                <a:ext cx="152719" cy="133425"/>
              </a:xfrm>
              <a:custGeom>
                <a:avLst/>
                <a:gdLst>
                  <a:gd name="connsiteX0" fmla="*/ 118214 w 152719"/>
                  <a:gd name="connsiteY0" fmla="*/ 65755 h 133425"/>
                  <a:gd name="connsiteX1" fmla="*/ 152719 w 152719"/>
                  <a:gd name="connsiteY1" fmla="*/ 31282 h 133425"/>
                  <a:gd name="connsiteX2" fmla="*/ 115019 w 152719"/>
                  <a:gd name="connsiteY2" fmla="*/ 0 h 133425"/>
                  <a:gd name="connsiteX3" fmla="*/ 0 w 152719"/>
                  <a:gd name="connsiteY3" fmla="*/ 107889 h 133425"/>
                  <a:gd name="connsiteX4" fmla="*/ 50480 w 152719"/>
                  <a:gd name="connsiteY4" fmla="*/ 133425 h 133425"/>
                  <a:gd name="connsiteX5" fmla="*/ 118214 w 152719"/>
                  <a:gd name="connsiteY5" fmla="*/ 65755 h 133425"/>
                  <a:gd name="connsiteX6" fmla="*/ 118214 w 152719"/>
                  <a:gd name="connsiteY6" fmla="*/ 65755 h 133425"/>
                  <a:gd name="connsiteX7" fmla="*/ 107351 w 152719"/>
                  <a:gd name="connsiteY7" fmla="*/ 31282 h 133425"/>
                  <a:gd name="connsiteX8" fmla="*/ 116297 w 152719"/>
                  <a:gd name="connsiteY8" fmla="*/ 22344 h 133425"/>
                  <a:gd name="connsiteX9" fmla="*/ 125243 w 152719"/>
                  <a:gd name="connsiteY9" fmla="*/ 31282 h 133425"/>
                  <a:gd name="connsiteX10" fmla="*/ 116297 w 152719"/>
                  <a:gd name="connsiteY10" fmla="*/ 40219 h 133425"/>
                  <a:gd name="connsiteX11" fmla="*/ 116297 w 152719"/>
                  <a:gd name="connsiteY11" fmla="*/ 40219 h 133425"/>
                  <a:gd name="connsiteX12" fmla="*/ 107351 w 152719"/>
                  <a:gd name="connsiteY12" fmla="*/ 31282 h 1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719" h="133425">
                    <a:moveTo>
                      <a:pt x="118214" y="65755"/>
                    </a:moveTo>
                    <a:lnTo>
                      <a:pt x="152719" y="31282"/>
                    </a:lnTo>
                    <a:lnTo>
                      <a:pt x="115019" y="0"/>
                    </a:lnTo>
                    <a:lnTo>
                      <a:pt x="0" y="107889"/>
                    </a:lnTo>
                    <a:lnTo>
                      <a:pt x="50480" y="133425"/>
                    </a:lnTo>
                    <a:lnTo>
                      <a:pt x="118214" y="65755"/>
                    </a:lnTo>
                    <a:lnTo>
                      <a:pt x="118214" y="65755"/>
                    </a:lnTo>
                    <a:close/>
                    <a:moveTo>
                      <a:pt x="107351" y="31282"/>
                    </a:moveTo>
                    <a:cubicBezTo>
                      <a:pt x="107351" y="26174"/>
                      <a:pt x="111185" y="22344"/>
                      <a:pt x="116297" y="22344"/>
                    </a:cubicBezTo>
                    <a:cubicBezTo>
                      <a:pt x="121409" y="22344"/>
                      <a:pt x="125243" y="26174"/>
                      <a:pt x="125243" y="31282"/>
                    </a:cubicBezTo>
                    <a:cubicBezTo>
                      <a:pt x="125243" y="36389"/>
                      <a:pt x="121409" y="40219"/>
                      <a:pt x="116297" y="40219"/>
                    </a:cubicBezTo>
                    <a:cubicBezTo>
                      <a:pt x="116297" y="40219"/>
                      <a:pt x="116297" y="40219"/>
                      <a:pt x="116297" y="40219"/>
                    </a:cubicBezTo>
                    <a:cubicBezTo>
                      <a:pt x="111185" y="40219"/>
                      <a:pt x="107351" y="36389"/>
                      <a:pt x="107351" y="31282"/>
                    </a:cubicBezTo>
                    <a:close/>
                  </a:path>
                </a:pathLst>
              </a:custGeom>
              <a:solidFill>
                <a:srgbClr val="14A2DD"/>
              </a:solid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sp>
            <p:nvSpPr>
              <p:cNvPr id="2277" name="Graphic 4">
                <a:extLst>
                  <a:ext uri="{FF2B5EF4-FFF2-40B4-BE49-F238E27FC236}">
                    <a16:creationId xmlns:a16="http://schemas.microsoft.com/office/drawing/2014/main" id="{DD82E69A-859C-54E6-7089-2C8B9305EB52}"/>
                  </a:ext>
                </a:extLst>
              </p:cNvPr>
              <p:cNvSpPr/>
              <p:nvPr/>
            </p:nvSpPr>
            <p:spPr>
              <a:xfrm>
                <a:off x="1952125"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98410 w 362313"/>
                  <a:gd name="connsiteY6" fmla="*/ 271319 h 361971"/>
                  <a:gd name="connsiteX7" fmla="*/ 292020 w 362313"/>
                  <a:gd name="connsiteY7" fmla="*/ 277703 h 361971"/>
                  <a:gd name="connsiteX8" fmla="*/ 285630 w 362313"/>
                  <a:gd name="connsiteY8" fmla="*/ 271319 h 361971"/>
                  <a:gd name="connsiteX9" fmla="*/ 285630 w 362313"/>
                  <a:gd name="connsiteY9" fmla="*/ 238122 h 361971"/>
                  <a:gd name="connsiteX10" fmla="*/ 205756 w 362313"/>
                  <a:gd name="connsiteY10" fmla="*/ 238122 h 361971"/>
                  <a:gd name="connsiteX11" fmla="*/ 199366 w 362313"/>
                  <a:gd name="connsiteY11" fmla="*/ 231738 h 361971"/>
                  <a:gd name="connsiteX12" fmla="*/ 199366 w 362313"/>
                  <a:gd name="connsiteY12" fmla="*/ 184497 h 361971"/>
                  <a:gd name="connsiteX13" fmla="*/ 139301 w 362313"/>
                  <a:gd name="connsiteY13" fmla="*/ 244506 h 361971"/>
                  <a:gd name="connsiteX14" fmla="*/ 131633 w 362313"/>
                  <a:gd name="connsiteY14" fmla="*/ 245783 h 361971"/>
                  <a:gd name="connsiteX15" fmla="*/ 68372 w 362313"/>
                  <a:gd name="connsiteY15" fmla="*/ 214502 h 361971"/>
                  <a:gd name="connsiteX16" fmla="*/ 65816 w 362313"/>
                  <a:gd name="connsiteY16" fmla="*/ 206203 h 361971"/>
                  <a:gd name="connsiteX17" fmla="*/ 67094 w 362313"/>
                  <a:gd name="connsiteY17" fmla="*/ 204287 h 361971"/>
                  <a:gd name="connsiteX18" fmla="*/ 192976 w 362313"/>
                  <a:gd name="connsiteY18" fmla="*/ 86822 h 361971"/>
                  <a:gd name="connsiteX19" fmla="*/ 201283 w 362313"/>
                  <a:gd name="connsiteY19" fmla="*/ 86822 h 361971"/>
                  <a:gd name="connsiteX20" fmla="*/ 248569 w 362313"/>
                  <a:gd name="connsiteY20" fmla="*/ 126403 h 361971"/>
                  <a:gd name="connsiteX21" fmla="*/ 251124 w 362313"/>
                  <a:gd name="connsiteY21" fmla="*/ 130872 h 361971"/>
                  <a:gd name="connsiteX22" fmla="*/ 249208 w 362313"/>
                  <a:gd name="connsiteY22" fmla="*/ 135979 h 361971"/>
                  <a:gd name="connsiteX23" fmla="*/ 211507 w 362313"/>
                  <a:gd name="connsiteY23" fmla="*/ 173644 h 361971"/>
                  <a:gd name="connsiteX24" fmla="*/ 211507 w 362313"/>
                  <a:gd name="connsiteY24" fmla="*/ 227270 h 361971"/>
                  <a:gd name="connsiteX25" fmla="*/ 284991 w 362313"/>
                  <a:gd name="connsiteY25" fmla="*/ 227270 h 361971"/>
                  <a:gd name="connsiteX26" fmla="*/ 284991 w 362313"/>
                  <a:gd name="connsiteY26" fmla="*/ 194073 h 361971"/>
                  <a:gd name="connsiteX27" fmla="*/ 291381 w 362313"/>
                  <a:gd name="connsiteY27" fmla="*/ 187689 h 361971"/>
                  <a:gd name="connsiteX28" fmla="*/ 297771 w 362313"/>
                  <a:gd name="connsiteY28" fmla="*/ 194073 h 361971"/>
                  <a:gd name="connsiteX29" fmla="*/ 297771 w 362313"/>
                  <a:gd name="connsiteY29" fmla="*/ 27131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98410" y="271319"/>
                    </a:moveTo>
                    <a:cubicBezTo>
                      <a:pt x="298410" y="275149"/>
                      <a:pt x="295854" y="277703"/>
                      <a:pt x="292020" y="277703"/>
                    </a:cubicBezTo>
                    <a:cubicBezTo>
                      <a:pt x="288186" y="277703"/>
                      <a:pt x="285630" y="275149"/>
                      <a:pt x="285630" y="271319"/>
                    </a:cubicBezTo>
                    <a:lnTo>
                      <a:pt x="285630" y="238122"/>
                    </a:lnTo>
                    <a:lnTo>
                      <a:pt x="205756" y="238122"/>
                    </a:lnTo>
                    <a:cubicBezTo>
                      <a:pt x="201922" y="238122"/>
                      <a:pt x="199366" y="235569"/>
                      <a:pt x="199366" y="231738"/>
                    </a:cubicBezTo>
                    <a:lnTo>
                      <a:pt x="199366" y="184497"/>
                    </a:lnTo>
                    <a:lnTo>
                      <a:pt x="139301" y="244506"/>
                    </a:lnTo>
                    <a:cubicBezTo>
                      <a:pt x="137384" y="246422"/>
                      <a:pt x="134189" y="247060"/>
                      <a:pt x="131633" y="245783"/>
                    </a:cubicBezTo>
                    <a:lnTo>
                      <a:pt x="68372" y="214502"/>
                    </a:lnTo>
                    <a:cubicBezTo>
                      <a:pt x="65177" y="212587"/>
                      <a:pt x="63899" y="208756"/>
                      <a:pt x="65816" y="206203"/>
                    </a:cubicBezTo>
                    <a:cubicBezTo>
                      <a:pt x="66455" y="205564"/>
                      <a:pt x="66455" y="204926"/>
                      <a:pt x="67094" y="204287"/>
                    </a:cubicBezTo>
                    <a:lnTo>
                      <a:pt x="192976" y="86822"/>
                    </a:lnTo>
                    <a:cubicBezTo>
                      <a:pt x="195532" y="84907"/>
                      <a:pt x="199366" y="84907"/>
                      <a:pt x="201283" y="86822"/>
                    </a:cubicBezTo>
                    <a:lnTo>
                      <a:pt x="248569" y="126403"/>
                    </a:lnTo>
                    <a:cubicBezTo>
                      <a:pt x="249847" y="127680"/>
                      <a:pt x="250486" y="128957"/>
                      <a:pt x="251124" y="130872"/>
                    </a:cubicBezTo>
                    <a:cubicBezTo>
                      <a:pt x="251124" y="132787"/>
                      <a:pt x="250486" y="134702"/>
                      <a:pt x="249208" y="135979"/>
                    </a:cubicBezTo>
                    <a:lnTo>
                      <a:pt x="211507" y="173644"/>
                    </a:lnTo>
                    <a:lnTo>
                      <a:pt x="211507" y="227270"/>
                    </a:lnTo>
                    <a:lnTo>
                      <a:pt x="284991" y="227270"/>
                    </a:lnTo>
                    <a:lnTo>
                      <a:pt x="284991" y="194073"/>
                    </a:lnTo>
                    <a:cubicBezTo>
                      <a:pt x="284991" y="190243"/>
                      <a:pt x="287547" y="187689"/>
                      <a:pt x="291381" y="187689"/>
                    </a:cubicBezTo>
                    <a:cubicBezTo>
                      <a:pt x="295215" y="187689"/>
                      <a:pt x="297771" y="190243"/>
                      <a:pt x="297771" y="194073"/>
                    </a:cubicBezTo>
                    <a:lnTo>
                      <a:pt x="297771" y="271319"/>
                    </a:lnTo>
                    <a:close/>
                  </a:path>
                </a:pathLst>
              </a:custGeom>
              <a:solidFill>
                <a:srgbClr val="14A2DD"/>
              </a:solid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grpSp>
      </p:grpSp>
      <p:sp>
        <p:nvSpPr>
          <p:cNvPr id="2279" name="Rectangle 2278">
            <a:extLst>
              <a:ext uri="{FF2B5EF4-FFF2-40B4-BE49-F238E27FC236}">
                <a16:creationId xmlns:a16="http://schemas.microsoft.com/office/drawing/2014/main" id="{9A0C524A-3569-5937-9074-23EFF4D75870}"/>
              </a:ext>
            </a:extLst>
          </p:cNvPr>
          <p:cNvSpPr>
            <a:spLocks/>
          </p:cNvSpPr>
          <p:nvPr/>
        </p:nvSpPr>
        <p:spPr>
          <a:xfrm>
            <a:off x="6528989" y="3103212"/>
            <a:ext cx="4876773" cy="990341"/>
          </a:xfrm>
          <a:prstGeom prst="rect">
            <a:avLst/>
          </a:prstGeom>
          <a:solidFill>
            <a:srgbClr val="FFFFFF">
              <a:lumMod val="100000"/>
            </a:srgbClr>
          </a:solidFill>
          <a:ln w="12700" cap="flat" cmpd="sng" algn="ctr">
            <a:solidFill>
              <a:srgbClr val="46AC33"/>
            </a:solidFill>
            <a:prstDash val="solid"/>
            <a:miter lim="800000"/>
            <a:headEnd type="none" w="med" len="med"/>
            <a:tailEnd type="none" w="med" len="med"/>
          </a:ln>
          <a:effectLst>
            <a:outerShdw blurRad="50800" dist="38100" dir="2700000" algn="tl" rotWithShape="0">
              <a:prstClr val="black">
                <a:alpha val="40000"/>
              </a:prstClr>
            </a:outerShdw>
          </a:effectLst>
        </p:spPr>
        <p:txBody>
          <a:bodyPr lIns="288000" tIns="72000" rIns="72000" rtlCol="0" anchor="t"/>
          <a:lstStyle/>
          <a:p>
            <a:pPr marL="0" marR="0" lvl="0" indent="0" defTabSz="685184" eaLnBrk="1" fontAlgn="auto" latinLnBrk="0" hangingPunct="1">
              <a:lnSpc>
                <a:spcPct val="110000"/>
              </a:lnSpc>
              <a:spcBef>
                <a:spcPts val="0"/>
              </a:spcBef>
              <a:spcAft>
                <a:spcPts val="300"/>
              </a:spcAft>
              <a:buClrTx/>
              <a:buSzTx/>
              <a:buFontTx/>
              <a:buNone/>
              <a:tabLst/>
              <a:defRPr/>
            </a:pPr>
            <a:r>
              <a:rPr lang="de-AT" sz="1200" b="1">
                <a:solidFill>
                  <a:srgbClr val="14A2DD"/>
                </a:solidFill>
                <a:latin typeface="Aptos" panose="020B0004020202020204" pitchFamily="34" charset="0"/>
              </a:rPr>
              <a:t>Nebenthemen überfinanziert</a:t>
            </a:r>
          </a:p>
          <a:p>
            <a:pPr marL="0" marR="0" lvl="0" indent="0" defTabSz="685184" eaLnBrk="1" fontAlgn="auto" latinLnBrk="0" hangingPunct="1">
              <a:lnSpc>
                <a:spcPct val="110000"/>
              </a:lnSpc>
              <a:spcBef>
                <a:spcPts val="0"/>
              </a:spcBef>
              <a:spcAft>
                <a:spcPts val="300"/>
              </a:spcAft>
              <a:buClrTx/>
              <a:buSzTx/>
              <a:buFontTx/>
              <a:buNone/>
              <a:tabLst/>
              <a:defRPr/>
            </a:pPr>
            <a:r>
              <a:rPr kumimoji="0" lang="de-AT" sz="1100" b="0" i="0" strike="noStrike" kern="0" cap="none" spc="0" normalizeH="0" baseline="0" noProof="0">
                <a:ln>
                  <a:noFill/>
                </a:ln>
                <a:solidFill>
                  <a:prstClr val="black"/>
                </a:solidFill>
                <a:effectLst/>
                <a:uLnTx/>
                <a:uFillTx/>
                <a:latin typeface="Aptos" panose="020B0004020202020204" pitchFamily="34" charset="0"/>
              </a:rPr>
              <a:t>Randthemen oder prestigeträchtige Projekte mit geringer Sicherheitswirkung werden überfinanziert</a:t>
            </a:r>
          </a:p>
          <a:p>
            <a:pPr marL="0" marR="0" lvl="0" indent="0" defTabSz="685184" eaLnBrk="1" fontAlgn="auto" latinLnBrk="0" hangingPunct="1">
              <a:lnSpc>
                <a:spcPct val="110000"/>
              </a:lnSpc>
              <a:spcBef>
                <a:spcPts val="0"/>
              </a:spcBef>
              <a:spcAft>
                <a:spcPts val="0"/>
              </a:spcAft>
              <a:buClrTx/>
              <a:buSzTx/>
              <a:buFontTx/>
              <a:buNone/>
              <a:tabLst/>
              <a:defRPr/>
            </a:pPr>
            <a:endParaRPr kumimoji="0" lang="de-AT" sz="1100" b="0" i="0" strike="noStrike" kern="0" cap="none" spc="0" normalizeH="0" baseline="0" noProof="0">
              <a:ln>
                <a:noFill/>
              </a:ln>
              <a:solidFill>
                <a:prstClr val="black"/>
              </a:solidFill>
              <a:effectLst/>
              <a:uLnTx/>
              <a:uFillTx/>
              <a:latin typeface="+mj-lt"/>
            </a:endParaRPr>
          </a:p>
        </p:txBody>
      </p:sp>
      <p:sp>
        <p:nvSpPr>
          <p:cNvPr id="2280" name="Rectangle 2279">
            <a:extLst>
              <a:ext uri="{FF2B5EF4-FFF2-40B4-BE49-F238E27FC236}">
                <a16:creationId xmlns:a16="http://schemas.microsoft.com/office/drawing/2014/main" id="{4382BC1B-326B-6C8B-9962-7368E5C86F0B}"/>
              </a:ext>
            </a:extLst>
          </p:cNvPr>
          <p:cNvSpPr>
            <a:spLocks/>
          </p:cNvSpPr>
          <p:nvPr/>
        </p:nvSpPr>
        <p:spPr bwMode="gray">
          <a:xfrm>
            <a:off x="6450791" y="3105820"/>
            <a:ext cx="132123" cy="990000"/>
          </a:xfrm>
          <a:prstGeom prst="rect">
            <a:avLst/>
          </a:prstGeom>
          <a:solidFill>
            <a:srgbClr val="14A2DD"/>
          </a:solidFill>
          <a:ln w="19050" algn="ctr">
            <a:solidFill>
              <a:srgbClr val="14A2D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300">
              <a:solidFill>
                <a:schemeClr val="bg1"/>
              </a:solidFill>
            </a:endParaRPr>
          </a:p>
        </p:txBody>
      </p:sp>
      <p:sp>
        <p:nvSpPr>
          <p:cNvPr id="2281" name="Oval 2280">
            <a:extLst>
              <a:ext uri="{FF2B5EF4-FFF2-40B4-BE49-F238E27FC236}">
                <a16:creationId xmlns:a16="http://schemas.microsoft.com/office/drawing/2014/main" id="{EFCE9657-1BB8-2DA3-7804-DB3B8641C40F}"/>
              </a:ext>
            </a:extLst>
          </p:cNvPr>
          <p:cNvSpPr>
            <a:spLocks/>
          </p:cNvSpPr>
          <p:nvPr/>
        </p:nvSpPr>
        <p:spPr bwMode="gray">
          <a:xfrm>
            <a:off x="6356297" y="3437826"/>
            <a:ext cx="321112" cy="32111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AT" sz="1300" err="1">
              <a:solidFill>
                <a:schemeClr val="bg1"/>
              </a:solidFill>
            </a:endParaRPr>
          </a:p>
        </p:txBody>
      </p:sp>
      <p:grpSp>
        <p:nvGrpSpPr>
          <p:cNvPr id="2282" name="Graphic 4">
            <a:extLst>
              <a:ext uri="{FF2B5EF4-FFF2-40B4-BE49-F238E27FC236}">
                <a16:creationId xmlns:a16="http://schemas.microsoft.com/office/drawing/2014/main" id="{466275ED-B888-9BF9-8724-79277935BB66}"/>
              </a:ext>
            </a:extLst>
          </p:cNvPr>
          <p:cNvGrpSpPr>
            <a:grpSpLocks/>
          </p:cNvGrpSpPr>
          <p:nvPr/>
        </p:nvGrpSpPr>
        <p:grpSpPr>
          <a:xfrm>
            <a:off x="6336850" y="3418379"/>
            <a:ext cx="360005" cy="359995"/>
            <a:chOff x="905454" y="918179"/>
            <a:chExt cx="362309" cy="361971"/>
          </a:xfrm>
          <a:solidFill>
            <a:srgbClr val="14A2DD"/>
          </a:solidFill>
        </p:grpSpPr>
        <p:sp>
          <p:nvSpPr>
            <p:cNvPr id="2283" name="Graphic 4">
              <a:extLst>
                <a:ext uri="{FF2B5EF4-FFF2-40B4-BE49-F238E27FC236}">
                  <a16:creationId xmlns:a16="http://schemas.microsoft.com/office/drawing/2014/main" id="{BCA2EE02-5F3A-74D9-17E2-519948EF4D48}"/>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sp>
          <p:nvSpPr>
            <p:cNvPr id="2284" name="Graphic 4">
              <a:extLst>
                <a:ext uri="{FF2B5EF4-FFF2-40B4-BE49-F238E27FC236}">
                  <a16:creationId xmlns:a16="http://schemas.microsoft.com/office/drawing/2014/main" id="{B7B2ECC2-B63F-A4E0-34AE-A0A2BA18EA6E}"/>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sp>
          <p:nvSpPr>
            <p:cNvPr id="2285" name="Graphic 4">
              <a:extLst>
                <a:ext uri="{FF2B5EF4-FFF2-40B4-BE49-F238E27FC236}">
                  <a16:creationId xmlns:a16="http://schemas.microsoft.com/office/drawing/2014/main" id="{2BB053A5-A3EE-DB64-A56B-58A04D0ED767}"/>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sp>
          <p:nvSpPr>
            <p:cNvPr id="2286" name="Graphic 4">
              <a:extLst>
                <a:ext uri="{FF2B5EF4-FFF2-40B4-BE49-F238E27FC236}">
                  <a16:creationId xmlns:a16="http://schemas.microsoft.com/office/drawing/2014/main" id="{6F34F31B-5B04-DE81-9C02-1DD2442567AD}"/>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AT" sz="2000">
                <a:latin typeface="+mj-lt"/>
                <a:cs typeface="Segoe UI" panose="020B0502040204020203" pitchFamily="34" charset="0"/>
              </a:endParaRPr>
            </a:p>
          </p:txBody>
        </p:sp>
      </p:grpSp>
      <p:sp>
        <p:nvSpPr>
          <p:cNvPr id="2298" name="Rectangle 2297">
            <a:extLst>
              <a:ext uri="{FF2B5EF4-FFF2-40B4-BE49-F238E27FC236}">
                <a16:creationId xmlns:a16="http://schemas.microsoft.com/office/drawing/2014/main" id="{BB6E24A0-720C-BA1C-1B1F-F0303316863E}"/>
              </a:ext>
            </a:extLst>
          </p:cNvPr>
          <p:cNvSpPr>
            <a:spLocks/>
          </p:cNvSpPr>
          <p:nvPr/>
        </p:nvSpPr>
        <p:spPr bwMode="gray">
          <a:xfrm>
            <a:off x="446073" y="5607272"/>
            <a:ext cx="11299851" cy="566727"/>
          </a:xfrm>
          <a:prstGeom prst="rect">
            <a:avLst/>
          </a:prstGeom>
          <a:solidFill>
            <a:schemeClr val="bg1">
              <a:lumMod val="95000"/>
            </a:schemeClr>
          </a:solidFill>
          <a:ln w="19050" algn="ctr">
            <a:solidFill>
              <a:schemeClr val="accent1"/>
            </a:solidFill>
            <a:prstDash val="dash"/>
            <a:miter lim="800000"/>
            <a:headEnd/>
            <a:tailEnd/>
          </a:ln>
        </p:spPr>
        <p:txBody>
          <a:bodyPr wrap="square" lIns="1080000" tIns="88900" rIns="144000" bIns="88900" rtlCol="0" anchor="ctr"/>
          <a:lstStyle/>
          <a:p>
            <a:r>
              <a:rPr lang="de-AT" sz="1200" b="1">
                <a:latin typeface="Aptos" panose="020B0004020202020204" pitchFamily="34" charset="0"/>
              </a:rPr>
              <a:t>Fehlende Priorisierung </a:t>
            </a:r>
            <a:r>
              <a:rPr lang="de-AT" sz="1200">
                <a:latin typeface="Aptos" panose="020B0004020202020204" pitchFamily="34" charset="0"/>
              </a:rPr>
              <a:t>und </a:t>
            </a:r>
            <a:r>
              <a:rPr lang="de-AT" sz="1200" b="1">
                <a:latin typeface="Aptos" panose="020B0004020202020204" pitchFamily="34" charset="0"/>
              </a:rPr>
              <a:t>mangelnde Transparenz </a:t>
            </a:r>
            <a:r>
              <a:rPr lang="de-AT" sz="1200">
                <a:latin typeface="Aptos" panose="020B0004020202020204" pitchFamily="34" charset="0"/>
              </a:rPr>
              <a:t>gefährden eine wirksame Security-Strategie!</a:t>
            </a:r>
          </a:p>
        </p:txBody>
      </p:sp>
      <p:graphicFrame>
        <p:nvGraphicFramePr>
          <p:cNvPr id="2306" name="Chart 2305">
            <a:extLst>
              <a:ext uri="{FF2B5EF4-FFF2-40B4-BE49-F238E27FC236}">
                <a16:creationId xmlns:a16="http://schemas.microsoft.com/office/drawing/2014/main" id="{261E0E3C-7EA6-BCBE-0F7C-8A99B9246314}"/>
              </a:ext>
            </a:extLst>
          </p:cNvPr>
          <p:cNvGraphicFramePr>
            <a:graphicFrameLocks/>
          </p:cNvGraphicFramePr>
          <p:nvPr>
            <p:extLst>
              <p:ext uri="{D42A27DB-BD31-4B8C-83A1-F6EECF244321}">
                <p14:modId xmlns:p14="http://schemas.microsoft.com/office/powerpoint/2010/main" val="1116723416"/>
              </p:ext>
            </p:extLst>
          </p:nvPr>
        </p:nvGraphicFramePr>
        <p:xfrm>
          <a:off x="573924" y="2304320"/>
          <a:ext cx="5284009" cy="2724013"/>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aphic 4">
            <a:extLst>
              <a:ext uri="{FF2B5EF4-FFF2-40B4-BE49-F238E27FC236}">
                <a16:creationId xmlns:a16="http://schemas.microsoft.com/office/drawing/2014/main" id="{958D201D-5783-F757-ECA6-164D29E51A90}"/>
              </a:ext>
            </a:extLst>
          </p:cNvPr>
          <p:cNvGrpSpPr>
            <a:grpSpLocks noChangeAspect="1"/>
          </p:cNvGrpSpPr>
          <p:nvPr/>
        </p:nvGrpSpPr>
        <p:grpSpPr>
          <a:xfrm>
            <a:off x="710316" y="5708607"/>
            <a:ext cx="364345" cy="363998"/>
            <a:chOff x="7192513" y="4792617"/>
            <a:chExt cx="361674" cy="361333"/>
          </a:xfrm>
          <a:solidFill>
            <a:srgbClr val="2C5234"/>
          </a:solidFill>
        </p:grpSpPr>
        <p:sp>
          <p:nvSpPr>
            <p:cNvPr id="6" name="Graphic 4">
              <a:extLst>
                <a:ext uri="{FF2B5EF4-FFF2-40B4-BE49-F238E27FC236}">
                  <a16:creationId xmlns:a16="http://schemas.microsoft.com/office/drawing/2014/main" id="{19C065DF-275F-CE94-C752-93A1E7BCBD68}"/>
                </a:ext>
              </a:extLst>
            </p:cNvPr>
            <p:cNvSpPr/>
            <p:nvPr/>
          </p:nvSpPr>
          <p:spPr>
            <a:xfrm>
              <a:off x="7316477" y="4908806"/>
              <a:ext cx="154636" cy="90652"/>
            </a:xfrm>
            <a:custGeom>
              <a:avLst/>
              <a:gdLst>
                <a:gd name="connsiteX0" fmla="*/ 120770 w 154636"/>
                <a:gd name="connsiteY0" fmla="*/ 15322 h 90652"/>
                <a:gd name="connsiteX1" fmla="*/ 118853 w 154636"/>
                <a:gd name="connsiteY1" fmla="*/ 15322 h 90652"/>
                <a:gd name="connsiteX2" fmla="*/ 65817 w 154636"/>
                <a:gd name="connsiteY2" fmla="*/ 0 h 90652"/>
                <a:gd name="connsiteX3" fmla="*/ 4473 w 154636"/>
                <a:gd name="connsiteY3" fmla="*/ 33197 h 90652"/>
                <a:gd name="connsiteX4" fmla="*/ 0 w 154636"/>
                <a:gd name="connsiteY4" fmla="*/ 40858 h 90652"/>
                <a:gd name="connsiteX5" fmla="*/ 3195 w 154636"/>
                <a:gd name="connsiteY5" fmla="*/ 49157 h 90652"/>
                <a:gd name="connsiteX6" fmla="*/ 8946 w 154636"/>
                <a:gd name="connsiteY6" fmla="*/ 50434 h 90652"/>
                <a:gd name="connsiteX7" fmla="*/ 99683 w 154636"/>
                <a:gd name="connsiteY7" fmla="*/ 35112 h 90652"/>
                <a:gd name="connsiteX8" fmla="*/ 106073 w 154636"/>
                <a:gd name="connsiteY8" fmla="*/ 38304 h 90652"/>
                <a:gd name="connsiteX9" fmla="*/ 135466 w 154636"/>
                <a:gd name="connsiteY9" fmla="*/ 90653 h 90652"/>
                <a:gd name="connsiteX10" fmla="*/ 137384 w 154636"/>
                <a:gd name="connsiteY10" fmla="*/ 90014 h 90652"/>
                <a:gd name="connsiteX11" fmla="*/ 153358 w 154636"/>
                <a:gd name="connsiteY11" fmla="*/ 90014 h 90652"/>
                <a:gd name="connsiteX12" fmla="*/ 154636 w 154636"/>
                <a:gd name="connsiteY12" fmla="*/ 90014 h 90652"/>
                <a:gd name="connsiteX13" fmla="*/ 154636 w 154636"/>
                <a:gd name="connsiteY13" fmla="*/ 14683 h 90652"/>
                <a:gd name="connsiteX14" fmla="*/ 120770 w 154636"/>
                <a:gd name="connsiteY14" fmla="*/ 14683 h 9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636" h="90652">
                  <a:moveTo>
                    <a:pt x="120770" y="15322"/>
                  </a:moveTo>
                  <a:cubicBezTo>
                    <a:pt x="120131" y="15322"/>
                    <a:pt x="119492" y="15322"/>
                    <a:pt x="118853" y="15322"/>
                  </a:cubicBezTo>
                  <a:lnTo>
                    <a:pt x="65817" y="0"/>
                  </a:lnTo>
                  <a:lnTo>
                    <a:pt x="4473" y="33197"/>
                  </a:lnTo>
                  <a:cubicBezTo>
                    <a:pt x="1917" y="35112"/>
                    <a:pt x="0" y="37666"/>
                    <a:pt x="0" y="40858"/>
                  </a:cubicBezTo>
                  <a:cubicBezTo>
                    <a:pt x="0" y="44050"/>
                    <a:pt x="1278" y="47242"/>
                    <a:pt x="3195" y="49157"/>
                  </a:cubicBezTo>
                  <a:cubicBezTo>
                    <a:pt x="4473" y="50434"/>
                    <a:pt x="6390" y="51072"/>
                    <a:pt x="8946" y="50434"/>
                  </a:cubicBezTo>
                  <a:lnTo>
                    <a:pt x="99683" y="35112"/>
                  </a:lnTo>
                  <a:cubicBezTo>
                    <a:pt x="102239" y="34474"/>
                    <a:pt x="104795" y="35751"/>
                    <a:pt x="106073" y="38304"/>
                  </a:cubicBezTo>
                  <a:lnTo>
                    <a:pt x="135466" y="90653"/>
                  </a:lnTo>
                  <a:cubicBezTo>
                    <a:pt x="136106" y="90653"/>
                    <a:pt x="136745" y="90014"/>
                    <a:pt x="137384" y="90014"/>
                  </a:cubicBezTo>
                  <a:lnTo>
                    <a:pt x="153358" y="90014"/>
                  </a:lnTo>
                  <a:cubicBezTo>
                    <a:pt x="153997" y="90014"/>
                    <a:pt x="154636" y="90014"/>
                    <a:pt x="154636" y="90014"/>
                  </a:cubicBezTo>
                  <a:lnTo>
                    <a:pt x="154636" y="14683"/>
                  </a:lnTo>
                  <a:lnTo>
                    <a:pt x="120770" y="14683"/>
                  </a:lnTo>
                  <a:close/>
                </a:path>
              </a:pathLst>
            </a:custGeom>
            <a:grpFill/>
            <a:ln w="6390" cap="flat">
              <a:noFill/>
              <a:prstDash val="solid"/>
              <a:miter/>
            </a:ln>
          </p:spPr>
          <p:txBody>
            <a:bodyPr rtlCol="0" anchor="ctr"/>
            <a:lstStyle/>
            <a:p>
              <a:endParaRPr lang="en-US" sz="1432"/>
            </a:p>
          </p:txBody>
        </p:sp>
        <p:sp>
          <p:nvSpPr>
            <p:cNvPr id="7" name="Graphic 4">
              <a:extLst>
                <a:ext uri="{FF2B5EF4-FFF2-40B4-BE49-F238E27FC236}">
                  <a16:creationId xmlns:a16="http://schemas.microsoft.com/office/drawing/2014/main" id="{EE058DA5-9C12-6F22-C9C4-A928CAD55178}"/>
                </a:ext>
              </a:extLst>
            </p:cNvPr>
            <p:cNvSpPr/>
            <p:nvPr/>
          </p:nvSpPr>
          <p:spPr>
            <a:xfrm>
              <a:off x="7275582" y="4924128"/>
              <a:ext cx="169333" cy="123630"/>
            </a:xfrm>
            <a:custGeom>
              <a:avLst/>
              <a:gdLst>
                <a:gd name="connsiteX0" fmla="*/ 137384 w 169333"/>
                <a:gd name="connsiteY0" fmla="*/ 33197 h 123630"/>
                <a:gd name="connsiteX1" fmla="*/ 51119 w 169333"/>
                <a:gd name="connsiteY1" fmla="*/ 47880 h 123630"/>
                <a:gd name="connsiteX2" fmla="*/ 35145 w 169333"/>
                <a:gd name="connsiteY2" fmla="*/ 43411 h 123630"/>
                <a:gd name="connsiteX3" fmla="*/ 27477 w 169333"/>
                <a:gd name="connsiteY3" fmla="*/ 25536 h 123630"/>
                <a:gd name="connsiteX4" fmla="*/ 38340 w 169333"/>
                <a:gd name="connsiteY4" fmla="*/ 6384 h 123630"/>
                <a:gd name="connsiteX5" fmla="*/ 50481 w 169333"/>
                <a:gd name="connsiteY5" fmla="*/ 0 h 123630"/>
                <a:gd name="connsiteX6" fmla="*/ 0 w 169333"/>
                <a:gd name="connsiteY6" fmla="*/ 0 h 123630"/>
                <a:gd name="connsiteX7" fmla="*/ 0 w 169333"/>
                <a:gd name="connsiteY7" fmla="*/ 74693 h 123630"/>
                <a:gd name="connsiteX8" fmla="*/ 17253 w 169333"/>
                <a:gd name="connsiteY8" fmla="*/ 74693 h 123630"/>
                <a:gd name="connsiteX9" fmla="*/ 23004 w 169333"/>
                <a:gd name="connsiteY9" fmla="*/ 77885 h 123630"/>
                <a:gd name="connsiteX10" fmla="*/ 46647 w 169333"/>
                <a:gd name="connsiteY10" fmla="*/ 117465 h 123630"/>
                <a:gd name="connsiteX11" fmla="*/ 53676 w 169333"/>
                <a:gd name="connsiteY11" fmla="*/ 123211 h 123630"/>
                <a:gd name="connsiteX12" fmla="*/ 61343 w 169333"/>
                <a:gd name="connsiteY12" fmla="*/ 122573 h 123630"/>
                <a:gd name="connsiteX13" fmla="*/ 63899 w 169333"/>
                <a:gd name="connsiteY13" fmla="*/ 109805 h 123630"/>
                <a:gd name="connsiteX14" fmla="*/ 58148 w 169333"/>
                <a:gd name="connsiteY14" fmla="*/ 101505 h 123630"/>
                <a:gd name="connsiteX15" fmla="*/ 60066 w 169333"/>
                <a:gd name="connsiteY15" fmla="*/ 92568 h 123630"/>
                <a:gd name="connsiteX16" fmla="*/ 69012 w 169333"/>
                <a:gd name="connsiteY16" fmla="*/ 94483 h 123630"/>
                <a:gd name="connsiteX17" fmla="*/ 74763 w 169333"/>
                <a:gd name="connsiteY17" fmla="*/ 102782 h 123630"/>
                <a:gd name="connsiteX18" fmla="*/ 74763 w 169333"/>
                <a:gd name="connsiteY18" fmla="*/ 102782 h 123630"/>
                <a:gd name="connsiteX19" fmla="*/ 74763 w 169333"/>
                <a:gd name="connsiteY19" fmla="*/ 102782 h 123630"/>
                <a:gd name="connsiteX20" fmla="*/ 74763 w 169333"/>
                <a:gd name="connsiteY20" fmla="*/ 102782 h 123630"/>
                <a:gd name="connsiteX21" fmla="*/ 83708 w 169333"/>
                <a:gd name="connsiteY21" fmla="*/ 117465 h 123630"/>
                <a:gd name="connsiteX22" fmla="*/ 98405 w 169333"/>
                <a:gd name="connsiteY22" fmla="*/ 121296 h 123630"/>
                <a:gd name="connsiteX23" fmla="*/ 102239 w 169333"/>
                <a:gd name="connsiteY23" fmla="*/ 107251 h 123630"/>
                <a:gd name="connsiteX24" fmla="*/ 86903 w 169333"/>
                <a:gd name="connsiteY24" fmla="*/ 81715 h 123630"/>
                <a:gd name="connsiteX25" fmla="*/ 88820 w 169333"/>
                <a:gd name="connsiteY25" fmla="*/ 72777 h 123630"/>
                <a:gd name="connsiteX26" fmla="*/ 97766 w 169333"/>
                <a:gd name="connsiteY26" fmla="*/ 74693 h 123630"/>
                <a:gd name="connsiteX27" fmla="*/ 99683 w 169333"/>
                <a:gd name="connsiteY27" fmla="*/ 78523 h 123630"/>
                <a:gd name="connsiteX28" fmla="*/ 100322 w 169333"/>
                <a:gd name="connsiteY28" fmla="*/ 79161 h 123630"/>
                <a:gd name="connsiteX29" fmla="*/ 112463 w 169333"/>
                <a:gd name="connsiteY29" fmla="*/ 100229 h 123630"/>
                <a:gd name="connsiteX30" fmla="*/ 112463 w 169333"/>
                <a:gd name="connsiteY30" fmla="*/ 100867 h 123630"/>
                <a:gd name="connsiteX31" fmla="*/ 121409 w 169333"/>
                <a:gd name="connsiteY31" fmla="*/ 115550 h 123630"/>
                <a:gd name="connsiteX32" fmla="*/ 136106 w 169333"/>
                <a:gd name="connsiteY32" fmla="*/ 119381 h 123630"/>
                <a:gd name="connsiteX33" fmla="*/ 138662 w 169333"/>
                <a:gd name="connsiteY33" fmla="*/ 105336 h 123630"/>
                <a:gd name="connsiteX34" fmla="*/ 113102 w 169333"/>
                <a:gd name="connsiteY34" fmla="*/ 61925 h 123630"/>
                <a:gd name="connsiteX35" fmla="*/ 115658 w 169333"/>
                <a:gd name="connsiteY35" fmla="*/ 52987 h 123630"/>
                <a:gd name="connsiteX36" fmla="*/ 124604 w 169333"/>
                <a:gd name="connsiteY36" fmla="*/ 55541 h 123630"/>
                <a:gd name="connsiteX37" fmla="*/ 150164 w 169333"/>
                <a:gd name="connsiteY37" fmla="*/ 98952 h 123630"/>
                <a:gd name="connsiteX38" fmla="*/ 156553 w 169333"/>
                <a:gd name="connsiteY38" fmla="*/ 104059 h 123630"/>
                <a:gd name="connsiteX39" fmla="*/ 164222 w 169333"/>
                <a:gd name="connsiteY39" fmla="*/ 102782 h 123630"/>
                <a:gd name="connsiteX40" fmla="*/ 168056 w 169333"/>
                <a:gd name="connsiteY40" fmla="*/ 88099 h 123630"/>
                <a:gd name="connsiteX41" fmla="*/ 137384 w 169333"/>
                <a:gd name="connsiteY41" fmla="*/ 33197 h 12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9333" h="123630">
                  <a:moveTo>
                    <a:pt x="137384" y="33197"/>
                  </a:moveTo>
                  <a:lnTo>
                    <a:pt x="51119" y="47880"/>
                  </a:lnTo>
                  <a:cubicBezTo>
                    <a:pt x="44730" y="48518"/>
                    <a:pt x="39618" y="47241"/>
                    <a:pt x="35145" y="43411"/>
                  </a:cubicBezTo>
                  <a:cubicBezTo>
                    <a:pt x="30033" y="38942"/>
                    <a:pt x="27477" y="32558"/>
                    <a:pt x="27477" y="25536"/>
                  </a:cubicBezTo>
                  <a:cubicBezTo>
                    <a:pt x="27477" y="17875"/>
                    <a:pt x="31950" y="10853"/>
                    <a:pt x="38340" y="6384"/>
                  </a:cubicBezTo>
                  <a:lnTo>
                    <a:pt x="50481" y="0"/>
                  </a:lnTo>
                  <a:lnTo>
                    <a:pt x="0" y="0"/>
                  </a:lnTo>
                  <a:lnTo>
                    <a:pt x="0" y="74693"/>
                  </a:lnTo>
                  <a:lnTo>
                    <a:pt x="17253" y="74693"/>
                  </a:lnTo>
                  <a:cubicBezTo>
                    <a:pt x="19809" y="74693"/>
                    <a:pt x="21726" y="75969"/>
                    <a:pt x="23004" y="77885"/>
                  </a:cubicBezTo>
                  <a:lnTo>
                    <a:pt x="46647" y="117465"/>
                  </a:lnTo>
                  <a:cubicBezTo>
                    <a:pt x="47925" y="120019"/>
                    <a:pt x="50481" y="121934"/>
                    <a:pt x="53676" y="123211"/>
                  </a:cubicBezTo>
                  <a:cubicBezTo>
                    <a:pt x="56232" y="123849"/>
                    <a:pt x="58788" y="123849"/>
                    <a:pt x="61343" y="122573"/>
                  </a:cubicBezTo>
                  <a:cubicBezTo>
                    <a:pt x="67094" y="119381"/>
                    <a:pt x="66456" y="113635"/>
                    <a:pt x="63899" y="109805"/>
                  </a:cubicBezTo>
                  <a:lnTo>
                    <a:pt x="58148" y="101505"/>
                  </a:lnTo>
                  <a:cubicBezTo>
                    <a:pt x="56232" y="98313"/>
                    <a:pt x="56871" y="94483"/>
                    <a:pt x="60066" y="92568"/>
                  </a:cubicBezTo>
                  <a:cubicBezTo>
                    <a:pt x="63261" y="90653"/>
                    <a:pt x="67094" y="91291"/>
                    <a:pt x="69012" y="94483"/>
                  </a:cubicBezTo>
                  <a:lnTo>
                    <a:pt x="74763" y="102782"/>
                  </a:lnTo>
                  <a:cubicBezTo>
                    <a:pt x="74763" y="102782"/>
                    <a:pt x="74763" y="102782"/>
                    <a:pt x="74763" y="102782"/>
                  </a:cubicBezTo>
                  <a:cubicBezTo>
                    <a:pt x="74763" y="102782"/>
                    <a:pt x="74763" y="102782"/>
                    <a:pt x="74763" y="102782"/>
                  </a:cubicBezTo>
                  <a:cubicBezTo>
                    <a:pt x="74763" y="102782"/>
                    <a:pt x="74763" y="102782"/>
                    <a:pt x="74763" y="102782"/>
                  </a:cubicBezTo>
                  <a:lnTo>
                    <a:pt x="83708" y="117465"/>
                  </a:lnTo>
                  <a:cubicBezTo>
                    <a:pt x="86903" y="122573"/>
                    <a:pt x="93293" y="123849"/>
                    <a:pt x="98405" y="121296"/>
                  </a:cubicBezTo>
                  <a:cubicBezTo>
                    <a:pt x="103517" y="118104"/>
                    <a:pt x="104795" y="112358"/>
                    <a:pt x="102239" y="107251"/>
                  </a:cubicBezTo>
                  <a:lnTo>
                    <a:pt x="86903" y="81715"/>
                  </a:lnTo>
                  <a:cubicBezTo>
                    <a:pt x="84986" y="78523"/>
                    <a:pt x="86264" y="74693"/>
                    <a:pt x="88820" y="72777"/>
                  </a:cubicBezTo>
                  <a:cubicBezTo>
                    <a:pt x="92015" y="70862"/>
                    <a:pt x="95849" y="72139"/>
                    <a:pt x="97766" y="74693"/>
                  </a:cubicBezTo>
                  <a:lnTo>
                    <a:pt x="99683" y="78523"/>
                  </a:lnTo>
                  <a:cubicBezTo>
                    <a:pt x="99683" y="78523"/>
                    <a:pt x="100322" y="79161"/>
                    <a:pt x="100322" y="79161"/>
                  </a:cubicBezTo>
                  <a:lnTo>
                    <a:pt x="112463" y="100229"/>
                  </a:lnTo>
                  <a:cubicBezTo>
                    <a:pt x="112463" y="100229"/>
                    <a:pt x="112463" y="100229"/>
                    <a:pt x="112463" y="100867"/>
                  </a:cubicBezTo>
                  <a:lnTo>
                    <a:pt x="121409" y="115550"/>
                  </a:lnTo>
                  <a:cubicBezTo>
                    <a:pt x="124604" y="120657"/>
                    <a:pt x="130994" y="122573"/>
                    <a:pt x="136106" y="119381"/>
                  </a:cubicBezTo>
                  <a:cubicBezTo>
                    <a:pt x="141857" y="116189"/>
                    <a:pt x="141217" y="109805"/>
                    <a:pt x="138662" y="105336"/>
                  </a:cubicBezTo>
                  <a:lnTo>
                    <a:pt x="113102" y="61925"/>
                  </a:lnTo>
                  <a:cubicBezTo>
                    <a:pt x="111185" y="58733"/>
                    <a:pt x="112463" y="54902"/>
                    <a:pt x="115658" y="52987"/>
                  </a:cubicBezTo>
                  <a:cubicBezTo>
                    <a:pt x="118853" y="51072"/>
                    <a:pt x="122687" y="52349"/>
                    <a:pt x="124604" y="55541"/>
                  </a:cubicBezTo>
                  <a:lnTo>
                    <a:pt x="150164" y="98952"/>
                  </a:lnTo>
                  <a:cubicBezTo>
                    <a:pt x="151442" y="101505"/>
                    <a:pt x="153997" y="102782"/>
                    <a:pt x="156553" y="104059"/>
                  </a:cubicBezTo>
                  <a:cubicBezTo>
                    <a:pt x="159110" y="104697"/>
                    <a:pt x="162305" y="104059"/>
                    <a:pt x="164222" y="102782"/>
                  </a:cubicBezTo>
                  <a:cubicBezTo>
                    <a:pt x="169333" y="99590"/>
                    <a:pt x="170612" y="93206"/>
                    <a:pt x="168056" y="88099"/>
                  </a:cubicBezTo>
                  <a:lnTo>
                    <a:pt x="137384" y="33197"/>
                  </a:lnTo>
                  <a:close/>
                </a:path>
              </a:pathLst>
            </a:custGeom>
            <a:grpFill/>
            <a:ln w="6390" cap="flat">
              <a:noFill/>
              <a:prstDash val="solid"/>
              <a:miter/>
            </a:ln>
          </p:spPr>
          <p:txBody>
            <a:bodyPr rtlCol="0" anchor="ctr"/>
            <a:lstStyle/>
            <a:p>
              <a:endParaRPr lang="en-US" sz="1432"/>
            </a:p>
          </p:txBody>
        </p:sp>
        <p:sp>
          <p:nvSpPr>
            <p:cNvPr id="8" name="Graphic 4">
              <a:extLst>
                <a:ext uri="{FF2B5EF4-FFF2-40B4-BE49-F238E27FC236}">
                  <a16:creationId xmlns:a16="http://schemas.microsoft.com/office/drawing/2014/main" id="{2A94C93A-122B-F724-43F5-2C6B6BEC6422}"/>
                </a:ext>
              </a:extLst>
            </p:cNvPr>
            <p:cNvSpPr/>
            <p:nvPr/>
          </p:nvSpPr>
          <p:spPr>
            <a:xfrm>
              <a:off x="7192513" y="4792617"/>
              <a:ext cx="361674" cy="361333"/>
            </a:xfrm>
            <a:custGeom>
              <a:avLst/>
              <a:gdLst>
                <a:gd name="connsiteX0" fmla="*/ 180836 w 361674"/>
                <a:gd name="connsiteY0" fmla="*/ 0 h 361333"/>
                <a:gd name="connsiteX1" fmla="*/ 0 w 361674"/>
                <a:gd name="connsiteY1" fmla="*/ 180667 h 361333"/>
                <a:gd name="connsiteX2" fmla="*/ 180836 w 361674"/>
                <a:gd name="connsiteY2" fmla="*/ 361334 h 361333"/>
                <a:gd name="connsiteX3" fmla="*/ 361670 w 361674"/>
                <a:gd name="connsiteY3" fmla="*/ 180667 h 361333"/>
                <a:gd name="connsiteX4" fmla="*/ 180836 w 361674"/>
                <a:gd name="connsiteY4" fmla="*/ 0 h 361333"/>
                <a:gd name="connsiteX5" fmla="*/ 292659 w 361674"/>
                <a:gd name="connsiteY5" fmla="*/ 222163 h 361333"/>
                <a:gd name="connsiteX6" fmla="*/ 299049 w 361674"/>
                <a:gd name="connsiteY6" fmla="*/ 228547 h 361333"/>
                <a:gd name="connsiteX7" fmla="*/ 292659 w 361674"/>
                <a:gd name="connsiteY7" fmla="*/ 234931 h 361333"/>
                <a:gd name="connsiteX8" fmla="*/ 284991 w 361674"/>
                <a:gd name="connsiteY8" fmla="*/ 234931 h 361333"/>
                <a:gd name="connsiteX9" fmla="*/ 278601 w 361674"/>
                <a:gd name="connsiteY9" fmla="*/ 228547 h 361333"/>
                <a:gd name="connsiteX10" fmla="*/ 278601 w 361674"/>
                <a:gd name="connsiteY10" fmla="*/ 218971 h 361333"/>
                <a:gd name="connsiteX11" fmla="*/ 277323 w 361674"/>
                <a:gd name="connsiteY11" fmla="*/ 218971 h 361333"/>
                <a:gd name="connsiteX12" fmla="*/ 265821 w 361674"/>
                <a:gd name="connsiteY12" fmla="*/ 218971 h 361333"/>
                <a:gd name="connsiteX13" fmla="*/ 255597 w 361674"/>
                <a:gd name="connsiteY13" fmla="*/ 245145 h 361333"/>
                <a:gd name="connsiteX14" fmla="*/ 243456 w 361674"/>
                <a:gd name="connsiteY14" fmla="*/ 248337 h 361333"/>
                <a:gd name="connsiteX15" fmla="*/ 237706 w 361674"/>
                <a:gd name="connsiteY15" fmla="*/ 247699 h 361333"/>
                <a:gd name="connsiteX16" fmla="*/ 237706 w 361674"/>
                <a:gd name="connsiteY16" fmla="*/ 247699 h 361333"/>
                <a:gd name="connsiteX17" fmla="*/ 227482 w 361674"/>
                <a:gd name="connsiteY17" fmla="*/ 261743 h 361333"/>
                <a:gd name="connsiteX18" fmla="*/ 215980 w 361674"/>
                <a:gd name="connsiteY18" fmla="*/ 264935 h 361333"/>
                <a:gd name="connsiteX19" fmla="*/ 197449 w 361674"/>
                <a:gd name="connsiteY19" fmla="*/ 255998 h 361333"/>
                <a:gd name="connsiteX20" fmla="*/ 189782 w 361674"/>
                <a:gd name="connsiteY20" fmla="*/ 263659 h 361333"/>
                <a:gd name="connsiteX21" fmla="*/ 177641 w 361674"/>
                <a:gd name="connsiteY21" fmla="*/ 266851 h 361333"/>
                <a:gd name="connsiteX22" fmla="*/ 159748 w 361674"/>
                <a:gd name="connsiteY22" fmla="*/ 258551 h 361333"/>
                <a:gd name="connsiteX23" fmla="*/ 152720 w 361674"/>
                <a:gd name="connsiteY23" fmla="*/ 264935 h 361333"/>
                <a:gd name="connsiteX24" fmla="*/ 141857 w 361674"/>
                <a:gd name="connsiteY24" fmla="*/ 268127 h 361333"/>
                <a:gd name="connsiteX25" fmla="*/ 134828 w 361674"/>
                <a:gd name="connsiteY25" fmla="*/ 266851 h 361333"/>
                <a:gd name="connsiteX26" fmla="*/ 120770 w 361674"/>
                <a:gd name="connsiteY26" fmla="*/ 255998 h 361333"/>
                <a:gd name="connsiteX27" fmla="*/ 98405 w 361674"/>
                <a:gd name="connsiteY27" fmla="*/ 218971 h 361333"/>
                <a:gd name="connsiteX28" fmla="*/ 84348 w 361674"/>
                <a:gd name="connsiteY28" fmla="*/ 218971 h 361333"/>
                <a:gd name="connsiteX29" fmla="*/ 84348 w 361674"/>
                <a:gd name="connsiteY29" fmla="*/ 228547 h 361333"/>
                <a:gd name="connsiteX30" fmla="*/ 77958 w 361674"/>
                <a:gd name="connsiteY30" fmla="*/ 234931 h 361333"/>
                <a:gd name="connsiteX31" fmla="*/ 70289 w 361674"/>
                <a:gd name="connsiteY31" fmla="*/ 234931 h 361333"/>
                <a:gd name="connsiteX32" fmla="*/ 63899 w 361674"/>
                <a:gd name="connsiteY32" fmla="*/ 228547 h 361333"/>
                <a:gd name="connsiteX33" fmla="*/ 70289 w 361674"/>
                <a:gd name="connsiteY33" fmla="*/ 222163 h 361333"/>
                <a:gd name="connsiteX34" fmla="*/ 71568 w 361674"/>
                <a:gd name="connsiteY34" fmla="*/ 222163 h 361333"/>
                <a:gd name="connsiteX35" fmla="*/ 71568 w 361674"/>
                <a:gd name="connsiteY35" fmla="*/ 107251 h 361333"/>
                <a:gd name="connsiteX36" fmla="*/ 70289 w 361674"/>
                <a:gd name="connsiteY36" fmla="*/ 107251 h 361333"/>
                <a:gd name="connsiteX37" fmla="*/ 63899 w 361674"/>
                <a:gd name="connsiteY37" fmla="*/ 100867 h 361333"/>
                <a:gd name="connsiteX38" fmla="*/ 70289 w 361674"/>
                <a:gd name="connsiteY38" fmla="*/ 94483 h 361333"/>
                <a:gd name="connsiteX39" fmla="*/ 77958 w 361674"/>
                <a:gd name="connsiteY39" fmla="*/ 94483 h 361333"/>
                <a:gd name="connsiteX40" fmla="*/ 84348 w 361674"/>
                <a:gd name="connsiteY40" fmla="*/ 100867 h 361333"/>
                <a:gd name="connsiteX41" fmla="*/ 84348 w 361674"/>
                <a:gd name="connsiteY41" fmla="*/ 118104 h 361333"/>
                <a:gd name="connsiteX42" fmla="*/ 157832 w 361674"/>
                <a:gd name="connsiteY42" fmla="*/ 118104 h 361333"/>
                <a:gd name="connsiteX43" fmla="*/ 158471 w 361674"/>
                <a:gd name="connsiteY43" fmla="*/ 118104 h 361333"/>
                <a:gd name="connsiteX44" fmla="*/ 186587 w 361674"/>
                <a:gd name="connsiteY44" fmla="*/ 102782 h 361333"/>
                <a:gd name="connsiteX45" fmla="*/ 191059 w 361674"/>
                <a:gd name="connsiteY45" fmla="*/ 102144 h 361333"/>
                <a:gd name="connsiteX46" fmla="*/ 246013 w 361674"/>
                <a:gd name="connsiteY46" fmla="*/ 118104 h 361333"/>
                <a:gd name="connsiteX47" fmla="*/ 278601 w 361674"/>
                <a:gd name="connsiteY47" fmla="*/ 118104 h 361333"/>
                <a:gd name="connsiteX48" fmla="*/ 278601 w 361674"/>
                <a:gd name="connsiteY48" fmla="*/ 100867 h 361333"/>
                <a:gd name="connsiteX49" fmla="*/ 284991 w 361674"/>
                <a:gd name="connsiteY49" fmla="*/ 94483 h 361333"/>
                <a:gd name="connsiteX50" fmla="*/ 292659 w 361674"/>
                <a:gd name="connsiteY50" fmla="*/ 94483 h 361333"/>
                <a:gd name="connsiteX51" fmla="*/ 299049 w 361674"/>
                <a:gd name="connsiteY51" fmla="*/ 100867 h 361333"/>
                <a:gd name="connsiteX52" fmla="*/ 292659 w 361674"/>
                <a:gd name="connsiteY52" fmla="*/ 107251 h 361333"/>
                <a:gd name="connsiteX53" fmla="*/ 291381 w 361674"/>
                <a:gd name="connsiteY53" fmla="*/ 107251 h 361333"/>
                <a:gd name="connsiteX54" fmla="*/ 291381 w 361674"/>
                <a:gd name="connsiteY54" fmla="*/ 222163 h 361333"/>
                <a:gd name="connsiteX55" fmla="*/ 292659 w 361674"/>
                <a:gd name="connsiteY55" fmla="*/ 22216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1674" h="361333">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close/>
                  <a:moveTo>
                    <a:pt x="292659" y="222163"/>
                  </a:moveTo>
                  <a:cubicBezTo>
                    <a:pt x="296493" y="222163"/>
                    <a:pt x="299049" y="224716"/>
                    <a:pt x="299049" y="228547"/>
                  </a:cubicBezTo>
                  <a:cubicBezTo>
                    <a:pt x="299049" y="232377"/>
                    <a:pt x="296493" y="234931"/>
                    <a:pt x="292659" y="234931"/>
                  </a:cubicBezTo>
                  <a:lnTo>
                    <a:pt x="284991" y="234931"/>
                  </a:lnTo>
                  <a:cubicBezTo>
                    <a:pt x="281157" y="234931"/>
                    <a:pt x="278601" y="232377"/>
                    <a:pt x="278601" y="228547"/>
                  </a:cubicBezTo>
                  <a:lnTo>
                    <a:pt x="278601" y="218971"/>
                  </a:lnTo>
                  <a:cubicBezTo>
                    <a:pt x="277962" y="218971"/>
                    <a:pt x="277323" y="218971"/>
                    <a:pt x="277323" y="218971"/>
                  </a:cubicBezTo>
                  <a:lnTo>
                    <a:pt x="265821" y="218971"/>
                  </a:lnTo>
                  <a:cubicBezTo>
                    <a:pt x="268377" y="228547"/>
                    <a:pt x="264544" y="239399"/>
                    <a:pt x="255597" y="245145"/>
                  </a:cubicBezTo>
                  <a:cubicBezTo>
                    <a:pt x="251764" y="247060"/>
                    <a:pt x="247930" y="248337"/>
                    <a:pt x="243456" y="248337"/>
                  </a:cubicBezTo>
                  <a:cubicBezTo>
                    <a:pt x="241540" y="248337"/>
                    <a:pt x="239623" y="248337"/>
                    <a:pt x="237706" y="247699"/>
                  </a:cubicBezTo>
                  <a:cubicBezTo>
                    <a:pt x="237706" y="247699"/>
                    <a:pt x="237706" y="247699"/>
                    <a:pt x="237706" y="247699"/>
                  </a:cubicBezTo>
                  <a:cubicBezTo>
                    <a:pt x="236428" y="253444"/>
                    <a:pt x="233233" y="258551"/>
                    <a:pt x="227482" y="261743"/>
                  </a:cubicBezTo>
                  <a:cubicBezTo>
                    <a:pt x="223648" y="263659"/>
                    <a:pt x="219814" y="264935"/>
                    <a:pt x="215980" y="264935"/>
                  </a:cubicBezTo>
                  <a:cubicBezTo>
                    <a:pt x="208951" y="264935"/>
                    <a:pt x="201922" y="261743"/>
                    <a:pt x="197449" y="255998"/>
                  </a:cubicBezTo>
                  <a:cubicBezTo>
                    <a:pt x="195532" y="259190"/>
                    <a:pt x="192977" y="261743"/>
                    <a:pt x="189782" y="263659"/>
                  </a:cubicBezTo>
                  <a:cubicBezTo>
                    <a:pt x="185947" y="265574"/>
                    <a:pt x="182113" y="266851"/>
                    <a:pt x="177641" y="266851"/>
                  </a:cubicBezTo>
                  <a:cubicBezTo>
                    <a:pt x="170612" y="266851"/>
                    <a:pt x="164222" y="263659"/>
                    <a:pt x="159748" y="258551"/>
                  </a:cubicBezTo>
                  <a:cubicBezTo>
                    <a:pt x="157832" y="261105"/>
                    <a:pt x="155915" y="263020"/>
                    <a:pt x="152720" y="264935"/>
                  </a:cubicBezTo>
                  <a:cubicBezTo>
                    <a:pt x="149525" y="266851"/>
                    <a:pt x="145691" y="268127"/>
                    <a:pt x="141857" y="268127"/>
                  </a:cubicBezTo>
                  <a:cubicBezTo>
                    <a:pt x="139301" y="268127"/>
                    <a:pt x="137384" y="267489"/>
                    <a:pt x="134828" y="266851"/>
                  </a:cubicBezTo>
                  <a:cubicBezTo>
                    <a:pt x="129077" y="264935"/>
                    <a:pt x="123965" y="261105"/>
                    <a:pt x="120770" y="255998"/>
                  </a:cubicBezTo>
                  <a:lnTo>
                    <a:pt x="98405" y="218971"/>
                  </a:lnTo>
                  <a:lnTo>
                    <a:pt x="84348" y="218971"/>
                  </a:lnTo>
                  <a:lnTo>
                    <a:pt x="84348" y="228547"/>
                  </a:lnTo>
                  <a:cubicBezTo>
                    <a:pt x="84348" y="232377"/>
                    <a:pt x="81792" y="234931"/>
                    <a:pt x="77958" y="234931"/>
                  </a:cubicBezTo>
                  <a:lnTo>
                    <a:pt x="70289" y="234931"/>
                  </a:lnTo>
                  <a:cubicBezTo>
                    <a:pt x="66456" y="234931"/>
                    <a:pt x="63899" y="232377"/>
                    <a:pt x="63899" y="228547"/>
                  </a:cubicBezTo>
                  <a:cubicBezTo>
                    <a:pt x="63899" y="224716"/>
                    <a:pt x="66456" y="222163"/>
                    <a:pt x="70289" y="222163"/>
                  </a:cubicBezTo>
                  <a:lnTo>
                    <a:pt x="71568" y="222163"/>
                  </a:lnTo>
                  <a:lnTo>
                    <a:pt x="71568" y="107251"/>
                  </a:lnTo>
                  <a:lnTo>
                    <a:pt x="70289" y="107251"/>
                  </a:lnTo>
                  <a:cubicBezTo>
                    <a:pt x="66456" y="107251"/>
                    <a:pt x="63899" y="104697"/>
                    <a:pt x="63899" y="100867"/>
                  </a:cubicBezTo>
                  <a:cubicBezTo>
                    <a:pt x="63899" y="97037"/>
                    <a:pt x="66456" y="94483"/>
                    <a:pt x="70289" y="94483"/>
                  </a:cubicBezTo>
                  <a:lnTo>
                    <a:pt x="77958" y="94483"/>
                  </a:lnTo>
                  <a:cubicBezTo>
                    <a:pt x="81792" y="94483"/>
                    <a:pt x="84348" y="97037"/>
                    <a:pt x="84348" y="100867"/>
                  </a:cubicBezTo>
                  <a:lnTo>
                    <a:pt x="84348" y="118104"/>
                  </a:lnTo>
                  <a:lnTo>
                    <a:pt x="157832" y="118104"/>
                  </a:lnTo>
                  <a:cubicBezTo>
                    <a:pt x="157832" y="118104"/>
                    <a:pt x="158471" y="118104"/>
                    <a:pt x="158471" y="118104"/>
                  </a:cubicBezTo>
                  <a:lnTo>
                    <a:pt x="186587" y="102782"/>
                  </a:lnTo>
                  <a:cubicBezTo>
                    <a:pt x="187864" y="102144"/>
                    <a:pt x="189782" y="101505"/>
                    <a:pt x="191059" y="102144"/>
                  </a:cubicBezTo>
                  <a:lnTo>
                    <a:pt x="246013" y="118104"/>
                  </a:lnTo>
                  <a:lnTo>
                    <a:pt x="278601" y="118104"/>
                  </a:lnTo>
                  <a:lnTo>
                    <a:pt x="278601" y="100867"/>
                  </a:lnTo>
                  <a:cubicBezTo>
                    <a:pt x="278601" y="97037"/>
                    <a:pt x="281157" y="94483"/>
                    <a:pt x="284991" y="94483"/>
                  </a:cubicBezTo>
                  <a:lnTo>
                    <a:pt x="292659" y="94483"/>
                  </a:lnTo>
                  <a:cubicBezTo>
                    <a:pt x="296493" y="94483"/>
                    <a:pt x="299049" y="97037"/>
                    <a:pt x="299049" y="100867"/>
                  </a:cubicBezTo>
                  <a:cubicBezTo>
                    <a:pt x="299049" y="104697"/>
                    <a:pt x="296493" y="107251"/>
                    <a:pt x="292659" y="107251"/>
                  </a:cubicBezTo>
                  <a:lnTo>
                    <a:pt x="291381" y="107251"/>
                  </a:lnTo>
                  <a:lnTo>
                    <a:pt x="291381" y="222163"/>
                  </a:lnTo>
                  <a:lnTo>
                    <a:pt x="292659" y="222163"/>
                  </a:lnTo>
                  <a:close/>
                </a:path>
              </a:pathLst>
            </a:custGeom>
            <a:grpFill/>
            <a:ln w="6390" cap="flat">
              <a:noFill/>
              <a:prstDash val="solid"/>
              <a:miter/>
            </a:ln>
          </p:spPr>
          <p:txBody>
            <a:bodyPr rtlCol="0" anchor="ctr"/>
            <a:lstStyle/>
            <a:p>
              <a:endParaRPr lang="en-US" sz="1432"/>
            </a:p>
          </p:txBody>
        </p:sp>
      </p:grpSp>
    </p:spTree>
    <p:extLst>
      <p:ext uri="{BB962C8B-B14F-4D97-AF65-F5344CB8AC3E}">
        <p14:creationId xmlns:p14="http://schemas.microsoft.com/office/powerpoint/2010/main" val="1795946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3B08-D2B2-7265-F87E-1D948B02AA1D}"/>
            </a:ext>
          </a:extLst>
        </p:cNvPr>
        <p:cNvGrpSpPr/>
        <p:nvPr/>
      </p:nvGrpSpPr>
      <p:grpSpPr>
        <a:xfrm>
          <a:off x="0" y="0"/>
          <a:ext cx="0" cy="0"/>
          <a:chOff x="0" y="0"/>
          <a:chExt cx="0" cy="0"/>
        </a:xfrm>
      </p:grpSpPr>
      <p:graphicFrame>
        <p:nvGraphicFramePr>
          <p:cNvPr id="2324" name="think-cell data - do not delete" hidden="1">
            <a:extLst>
              <a:ext uri="{FF2B5EF4-FFF2-40B4-BE49-F238E27FC236}">
                <a16:creationId xmlns:a16="http://schemas.microsoft.com/office/drawing/2014/main" id="{B6146BD9-A8F0-5EED-7DAD-7E711BA6A575}"/>
              </a:ext>
            </a:extLst>
          </p:cNvPr>
          <p:cNvGraphicFramePr>
            <a:graphicFrameLocks noChangeAspect="1"/>
          </p:cNvGraphicFramePr>
          <p:nvPr>
            <p:custDataLst>
              <p:tags r:id="rId1"/>
            </p:custDataLst>
            <p:extLst>
              <p:ext uri="{D42A27DB-BD31-4B8C-83A1-F6EECF244321}">
                <p14:modId xmlns:p14="http://schemas.microsoft.com/office/powerpoint/2010/main" val="528514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324" name="think-cell data - do not delete" hidden="1">
                        <a:extLst>
                          <a:ext uri="{FF2B5EF4-FFF2-40B4-BE49-F238E27FC236}">
                            <a16:creationId xmlns:a16="http://schemas.microsoft.com/office/drawing/2014/main" id="{B6146BD9-A8F0-5EED-7DAD-7E711BA6A5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1B19670F-2C47-CD9C-1E08-69E2B5E6F2C8}"/>
              </a:ext>
            </a:extLst>
          </p:cNvPr>
          <p:cNvSpPr>
            <a:spLocks noGrp="1"/>
          </p:cNvSpPr>
          <p:nvPr>
            <p:ph type="body" sz="quarter" idx="13"/>
          </p:nvPr>
        </p:nvSpPr>
        <p:spPr>
          <a:xfrm>
            <a:off x="457200" y="684001"/>
            <a:ext cx="11274552" cy="440712"/>
          </a:xfrm>
        </p:spPr>
        <p:txBody>
          <a:bodyPr/>
          <a:lstStyle/>
          <a:p>
            <a:r>
              <a:rPr lang="de-AT">
                <a:solidFill>
                  <a:srgbClr val="53565A"/>
                </a:solidFill>
                <a:cs typeface="Calibri" panose="020F0502020204030204" pitchFamily="34" charset="0"/>
              </a:rPr>
              <a:t>Ohne Menschen keine erfolgreiche Security-Transformation</a:t>
            </a:r>
          </a:p>
        </p:txBody>
      </p:sp>
      <p:sp>
        <p:nvSpPr>
          <p:cNvPr id="4" name="Title 3">
            <a:extLst>
              <a:ext uri="{FF2B5EF4-FFF2-40B4-BE49-F238E27FC236}">
                <a16:creationId xmlns:a16="http://schemas.microsoft.com/office/drawing/2014/main" id="{C44604F5-18E7-8F11-1717-E68C77CE9E5C}"/>
              </a:ext>
            </a:extLst>
          </p:cNvPr>
          <p:cNvSpPr>
            <a:spLocks noGrp="1"/>
          </p:cNvSpPr>
          <p:nvPr>
            <p:ph type="title"/>
          </p:nvPr>
        </p:nvSpPr>
        <p:spPr/>
        <p:txBody>
          <a:bodyPr vert="horz"/>
          <a:lstStyle/>
          <a:p>
            <a:r>
              <a:rPr lang="de-AT"/>
              <a:t>Der menschliche Faktor als Schlüssel</a:t>
            </a:r>
            <a:endParaRPr lang="en-GB"/>
          </a:p>
        </p:txBody>
      </p:sp>
      <p:sp>
        <p:nvSpPr>
          <p:cNvPr id="7552" name="Freeform 16">
            <a:extLst>
              <a:ext uri="{FF2B5EF4-FFF2-40B4-BE49-F238E27FC236}">
                <a16:creationId xmlns:a16="http://schemas.microsoft.com/office/drawing/2014/main" id="{3B387547-D4C2-6992-9356-24471F95DC21}"/>
              </a:ext>
            </a:extLst>
          </p:cNvPr>
          <p:cNvSpPr>
            <a:spLocks/>
          </p:cNvSpPr>
          <p:nvPr/>
        </p:nvSpPr>
        <p:spPr bwMode="auto">
          <a:xfrm>
            <a:off x="4558615" y="2065703"/>
            <a:ext cx="3059980" cy="3061308"/>
          </a:xfrm>
          <a:prstGeom prst="arc">
            <a:avLst>
              <a:gd name="adj1" fmla="val 8757105"/>
              <a:gd name="adj2" fmla="val 6748160"/>
            </a:avLst>
          </a:prstGeom>
          <a:noFill/>
          <a:ln w="19050" cap="rnd">
            <a:solidFill>
              <a:srgbClr val="86BC2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grpSp>
        <p:nvGrpSpPr>
          <p:cNvPr id="7553" name="Group 48">
            <a:extLst>
              <a:ext uri="{FF2B5EF4-FFF2-40B4-BE49-F238E27FC236}">
                <a16:creationId xmlns:a16="http://schemas.microsoft.com/office/drawing/2014/main" id="{BFD93408-C712-357A-8F95-633D7311EA25}"/>
              </a:ext>
            </a:extLst>
          </p:cNvPr>
          <p:cNvGrpSpPr>
            <a:grpSpLocks noChangeAspect="1"/>
          </p:cNvGrpSpPr>
          <p:nvPr/>
        </p:nvGrpSpPr>
        <p:grpSpPr bwMode="auto">
          <a:xfrm>
            <a:off x="3989583" y="1513106"/>
            <a:ext cx="812018" cy="809638"/>
            <a:chOff x="3100" y="2384"/>
            <a:chExt cx="341" cy="340"/>
          </a:xfrm>
          <a:solidFill>
            <a:schemeClr val="accent1"/>
          </a:solidFill>
        </p:grpSpPr>
        <p:sp>
          <p:nvSpPr>
            <p:cNvPr id="7554" name="Freeform 342">
              <a:extLst>
                <a:ext uri="{FF2B5EF4-FFF2-40B4-BE49-F238E27FC236}">
                  <a16:creationId xmlns:a16="http://schemas.microsoft.com/office/drawing/2014/main" id="{66D30C50-E61B-665C-0EB9-20BB42140263}"/>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sp>
          <p:nvSpPr>
            <p:cNvPr id="7555" name="Freeform 343">
              <a:extLst>
                <a:ext uri="{FF2B5EF4-FFF2-40B4-BE49-F238E27FC236}">
                  <a16:creationId xmlns:a16="http://schemas.microsoft.com/office/drawing/2014/main" id="{D3787DE8-1A0F-7385-8FD8-FC1FEC4CED2B}"/>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grpSp>
      <p:grpSp>
        <p:nvGrpSpPr>
          <p:cNvPr id="7556" name="Group 417">
            <a:extLst>
              <a:ext uri="{FF2B5EF4-FFF2-40B4-BE49-F238E27FC236}">
                <a16:creationId xmlns:a16="http://schemas.microsoft.com/office/drawing/2014/main" id="{054C0F6B-60C6-3CF1-4F0F-0176B99DF0D7}"/>
              </a:ext>
            </a:extLst>
          </p:cNvPr>
          <p:cNvGrpSpPr>
            <a:grpSpLocks noChangeAspect="1"/>
          </p:cNvGrpSpPr>
          <p:nvPr/>
        </p:nvGrpSpPr>
        <p:grpSpPr bwMode="auto">
          <a:xfrm>
            <a:off x="7349200" y="1522192"/>
            <a:ext cx="808870" cy="811246"/>
            <a:chOff x="2725" y="1609"/>
            <a:chExt cx="340" cy="341"/>
          </a:xfrm>
          <a:solidFill>
            <a:schemeClr val="accent2"/>
          </a:solidFill>
        </p:grpSpPr>
        <p:sp>
          <p:nvSpPr>
            <p:cNvPr id="7557" name="Freeform 418">
              <a:extLst>
                <a:ext uri="{FF2B5EF4-FFF2-40B4-BE49-F238E27FC236}">
                  <a16:creationId xmlns:a16="http://schemas.microsoft.com/office/drawing/2014/main" id="{8A72C9D2-2F65-F56E-94B6-1CFD556E2F72}"/>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lumMod val="10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sp>
          <p:nvSpPr>
            <p:cNvPr id="7558" name="Freeform 419">
              <a:extLst>
                <a:ext uri="{FF2B5EF4-FFF2-40B4-BE49-F238E27FC236}">
                  <a16:creationId xmlns:a16="http://schemas.microsoft.com/office/drawing/2014/main" id="{A9F6D011-214F-CC4A-268E-49C6C192BA36}"/>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solidFill>
              <a:schemeClr val="accent2">
                <a:lumMod val="10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grpSp>
      <p:grpSp>
        <p:nvGrpSpPr>
          <p:cNvPr id="7559" name="Group 577">
            <a:extLst>
              <a:ext uri="{FF2B5EF4-FFF2-40B4-BE49-F238E27FC236}">
                <a16:creationId xmlns:a16="http://schemas.microsoft.com/office/drawing/2014/main" id="{F7683C5D-9362-E006-8162-A05F2DED96DD}"/>
              </a:ext>
            </a:extLst>
          </p:cNvPr>
          <p:cNvGrpSpPr>
            <a:grpSpLocks noChangeAspect="1"/>
          </p:cNvGrpSpPr>
          <p:nvPr/>
        </p:nvGrpSpPr>
        <p:grpSpPr bwMode="auto">
          <a:xfrm>
            <a:off x="3999154" y="4805266"/>
            <a:ext cx="811928" cy="811924"/>
            <a:chOff x="7356" y="2314"/>
            <a:chExt cx="340" cy="340"/>
          </a:xfrm>
          <a:solidFill>
            <a:srgbClr val="009A44"/>
          </a:solidFill>
        </p:grpSpPr>
        <p:sp>
          <p:nvSpPr>
            <p:cNvPr id="7560" name="Freeform 578">
              <a:extLst>
                <a:ext uri="{FF2B5EF4-FFF2-40B4-BE49-F238E27FC236}">
                  <a16:creationId xmlns:a16="http://schemas.microsoft.com/office/drawing/2014/main" id="{7717A8A6-BDAF-8792-AE2D-1E3D28C0755B}"/>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solidFill>
              <a:schemeClr val="accent3">
                <a:lumMod val="10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sp>
          <p:nvSpPr>
            <p:cNvPr id="7561" name="Freeform 579">
              <a:extLst>
                <a:ext uri="{FF2B5EF4-FFF2-40B4-BE49-F238E27FC236}">
                  <a16:creationId xmlns:a16="http://schemas.microsoft.com/office/drawing/2014/main" id="{E55D4168-BFD9-C6AD-A21E-89DFE3F3DA33}"/>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lumMod val="10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grpSp>
      <p:sp>
        <p:nvSpPr>
          <p:cNvPr id="7562" name="文本框 113">
            <a:extLst>
              <a:ext uri="{FF2B5EF4-FFF2-40B4-BE49-F238E27FC236}">
                <a16:creationId xmlns:a16="http://schemas.microsoft.com/office/drawing/2014/main" id="{ABFD50AC-2BC1-AE21-01E4-C4A898FC9C78}"/>
              </a:ext>
            </a:extLst>
          </p:cNvPr>
          <p:cNvSpPr txBox="1">
            <a:spLocks/>
          </p:cNvSpPr>
          <p:nvPr/>
        </p:nvSpPr>
        <p:spPr>
          <a:xfrm>
            <a:off x="551825" y="4208029"/>
            <a:ext cx="3276445" cy="1080873"/>
          </a:xfrm>
          <a:prstGeom prst="rect">
            <a:avLst/>
          </a:prstGeom>
          <a:noFill/>
        </p:spPr>
        <p:txBody>
          <a:bodyPr wrap="square" lIns="0" tIns="0" rIns="0" bIns="0" rtlCol="0" anchor="b">
            <a:spAutoFit/>
          </a:bodyPr>
          <a:lstStyle/>
          <a:p>
            <a:pPr>
              <a:lnSpc>
                <a:spcPts val="1200"/>
              </a:lnSpc>
              <a:spcAft>
                <a:spcPts val="1200"/>
              </a:spcAft>
              <a:buSzPct val="100000"/>
            </a:pPr>
            <a:r>
              <a:rPr lang="en-US" b="1" dirty="0" err="1">
                <a:solidFill>
                  <a:schemeClr val="accent2">
                    <a:lumMod val="100000"/>
                  </a:schemeClr>
                </a:solidFill>
                <a:latin typeface="Aptos" panose="020B0004020202020204" pitchFamily="34" charset="0"/>
                <a:cs typeface="Aparajita" panose="020B0502040204020203" pitchFamily="18" charset="0"/>
              </a:rPr>
              <a:t>Transparente</a:t>
            </a:r>
            <a:r>
              <a:rPr lang="en-US" b="1" dirty="0">
                <a:solidFill>
                  <a:schemeClr val="accent2">
                    <a:lumMod val="100000"/>
                  </a:schemeClr>
                </a:solidFill>
                <a:latin typeface="Aptos" panose="020B0004020202020204" pitchFamily="34" charset="0"/>
                <a:cs typeface="Aparajita" panose="020B0502040204020203" pitchFamily="18" charset="0"/>
              </a:rPr>
              <a:t> </a:t>
            </a:r>
            <a:r>
              <a:rPr lang="en-US" b="1" dirty="0" err="1">
                <a:solidFill>
                  <a:schemeClr val="accent2">
                    <a:lumMod val="100000"/>
                  </a:schemeClr>
                </a:solidFill>
                <a:latin typeface="Aptos" panose="020B0004020202020204" pitchFamily="34" charset="0"/>
                <a:cs typeface="Aparajita" panose="020B0502040204020203" pitchFamily="18" charset="0"/>
              </a:rPr>
              <a:t>Kommunikation</a:t>
            </a:r>
            <a:endParaRPr lang="en-US" b="1" dirty="0">
              <a:solidFill>
                <a:schemeClr val="accent2">
                  <a:lumMod val="100000"/>
                </a:schemeClr>
              </a:solidFill>
              <a:latin typeface="Aptos" panose="020B0004020202020204" pitchFamily="34" charset="0"/>
              <a:cs typeface="Aparajita" panose="020B0502040204020203" pitchFamily="18" charset="0"/>
            </a:endParaRPr>
          </a:p>
          <a:p>
            <a:pPr>
              <a:buSzPct val="100000"/>
            </a:pPr>
            <a:r>
              <a:rPr lang="de-AT" sz="1200" dirty="0">
                <a:solidFill>
                  <a:prstClr val="black"/>
                </a:solidFill>
                <a:latin typeface="Aptos" panose="020B0004020202020204" pitchFamily="34" charset="0"/>
                <a:cs typeface="Aparajita" panose="020B0502040204020203" pitchFamily="18" charset="0"/>
              </a:rPr>
              <a:t>Missverständnisse und Widerstände entstehen oft durch unklare Kommunikation. Ein klarer, dialogorientierter Austausch fördert das gegenseitige Verständnis von IT- und OT-Anforderungen und Prioritäten.</a:t>
            </a:r>
            <a:endParaRPr lang="en-US" sz="1200" dirty="0">
              <a:solidFill>
                <a:prstClr val="black"/>
              </a:solidFill>
              <a:latin typeface="Aptos" panose="020B0004020202020204" pitchFamily="34" charset="0"/>
              <a:cs typeface="Aparajita" panose="020B0502040204020203" pitchFamily="18" charset="0"/>
            </a:endParaRPr>
          </a:p>
        </p:txBody>
      </p:sp>
      <p:sp>
        <p:nvSpPr>
          <p:cNvPr id="7563" name="文本框 114">
            <a:extLst>
              <a:ext uri="{FF2B5EF4-FFF2-40B4-BE49-F238E27FC236}">
                <a16:creationId xmlns:a16="http://schemas.microsoft.com/office/drawing/2014/main" id="{754A907A-67D5-E5F1-585E-28D3DA160D91}"/>
              </a:ext>
            </a:extLst>
          </p:cNvPr>
          <p:cNvSpPr txBox="1">
            <a:spLocks/>
          </p:cNvSpPr>
          <p:nvPr/>
        </p:nvSpPr>
        <p:spPr>
          <a:xfrm>
            <a:off x="8455307" y="1391523"/>
            <a:ext cx="3276445" cy="1080873"/>
          </a:xfrm>
          <a:prstGeom prst="rect">
            <a:avLst/>
          </a:prstGeom>
          <a:noFill/>
        </p:spPr>
        <p:txBody>
          <a:bodyPr wrap="square" lIns="0" tIns="0" rIns="0" bIns="0" rtlCol="0" anchor="t">
            <a:spAutoFit/>
          </a:bodyPr>
          <a:lstStyle/>
          <a:p>
            <a:pPr>
              <a:lnSpc>
                <a:spcPts val="1200"/>
              </a:lnSpc>
              <a:spcAft>
                <a:spcPts val="1200"/>
              </a:spcAft>
            </a:pPr>
            <a:r>
              <a:rPr lang="en-US" b="1">
                <a:solidFill>
                  <a:schemeClr val="accent2">
                    <a:lumMod val="100000"/>
                  </a:schemeClr>
                </a:solidFill>
                <a:latin typeface="Aptos" panose="020B0004020202020204" pitchFamily="34" charset="0"/>
                <a:cs typeface="Aparajita" panose="020B0502040204020203" pitchFamily="18" charset="0"/>
              </a:rPr>
              <a:t>Stakeholder </a:t>
            </a:r>
            <a:r>
              <a:rPr lang="en-US" b="1" err="1">
                <a:solidFill>
                  <a:schemeClr val="accent2">
                    <a:lumMod val="100000"/>
                  </a:schemeClr>
                </a:solidFill>
                <a:latin typeface="Aptos" panose="020B0004020202020204" pitchFamily="34" charset="0"/>
                <a:cs typeface="Aparajita" panose="020B0502040204020203" pitchFamily="18" charset="0"/>
              </a:rPr>
              <a:t>Einbindung</a:t>
            </a:r>
            <a:endParaRPr lang="en-US" b="1">
              <a:solidFill>
                <a:schemeClr val="accent2">
                  <a:lumMod val="100000"/>
                </a:schemeClr>
              </a:solidFill>
              <a:latin typeface="Aptos" panose="020B0004020202020204" pitchFamily="34" charset="0"/>
              <a:cs typeface="Aparajita" panose="020B0502040204020203" pitchFamily="18" charset="0"/>
            </a:endParaRPr>
          </a:p>
          <a:p>
            <a:pPr>
              <a:lnSpc>
                <a:spcPts val="1200"/>
              </a:lnSpc>
              <a:spcAft>
                <a:spcPts val="1200"/>
              </a:spcAft>
            </a:pPr>
            <a:r>
              <a:rPr lang="de-AT" sz="1200">
                <a:solidFill>
                  <a:prstClr val="black"/>
                </a:solidFill>
                <a:latin typeface="Aptos" panose="020B0004020202020204" pitchFamily="34" charset="0"/>
                <a:cs typeface="Aparajita" panose="020B0502040204020203" pitchFamily="18" charset="0"/>
              </a:rPr>
              <a:t>Sicherheitskonzepte müssen gemeinsam von allen Beteiligten entwickelt und getragen werden. Der Einbezug von lokalen Perspektiven schafft Akzeptanz und ermöglicht eine erfolgreiche Umsetzung</a:t>
            </a:r>
            <a:r>
              <a:rPr lang="de-AT" sz="1200">
                <a:latin typeface="Aptos" panose="020B0004020202020204" pitchFamily="34" charset="0"/>
                <a:cs typeface="Aparajita" panose="020B0502040204020203" pitchFamily="18" charset="0"/>
              </a:rPr>
              <a:t>.</a:t>
            </a:r>
          </a:p>
        </p:txBody>
      </p:sp>
      <p:sp>
        <p:nvSpPr>
          <p:cNvPr id="7564" name="Freeform 16">
            <a:extLst>
              <a:ext uri="{FF2B5EF4-FFF2-40B4-BE49-F238E27FC236}">
                <a16:creationId xmlns:a16="http://schemas.microsoft.com/office/drawing/2014/main" id="{D7E5AF63-ECD7-4E01-3805-A9710A82D610}"/>
              </a:ext>
            </a:extLst>
          </p:cNvPr>
          <p:cNvSpPr>
            <a:spLocks/>
          </p:cNvSpPr>
          <p:nvPr/>
        </p:nvSpPr>
        <p:spPr bwMode="auto">
          <a:xfrm>
            <a:off x="4731835" y="2238999"/>
            <a:ext cx="2713540" cy="2714716"/>
          </a:xfrm>
          <a:prstGeom prst="arc">
            <a:avLst>
              <a:gd name="adj1" fmla="val 13598574"/>
              <a:gd name="adj2" fmla="val 10788521"/>
            </a:avLst>
          </a:prstGeom>
          <a:noFill/>
          <a:ln w="19050" cap="rnd" cmpd="sng" algn="ctr">
            <a:solidFill>
              <a:schemeClr val="accent2">
                <a:lumMod val="100000"/>
              </a:schemeClr>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sp>
        <p:nvSpPr>
          <p:cNvPr id="7565" name="Freeform 16">
            <a:extLst>
              <a:ext uri="{FF2B5EF4-FFF2-40B4-BE49-F238E27FC236}">
                <a16:creationId xmlns:a16="http://schemas.microsoft.com/office/drawing/2014/main" id="{DD69E267-05D8-6A18-DC0B-B380B5C14508}"/>
              </a:ext>
            </a:extLst>
          </p:cNvPr>
          <p:cNvSpPr>
            <a:spLocks/>
          </p:cNvSpPr>
          <p:nvPr/>
        </p:nvSpPr>
        <p:spPr bwMode="auto">
          <a:xfrm>
            <a:off x="4919161" y="2426407"/>
            <a:ext cx="2338890" cy="2339902"/>
          </a:xfrm>
          <a:prstGeom prst="arc">
            <a:avLst>
              <a:gd name="adj1" fmla="val 128013"/>
              <a:gd name="adj2" fmla="val 20365905"/>
            </a:avLst>
          </a:prstGeom>
          <a:noFill/>
          <a:ln w="19050" cap="rnd" cmpd="sng" algn="ctr">
            <a:solidFill>
              <a:schemeClr val="accent3">
                <a:lumMod val="100000"/>
              </a:schemeClr>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cxnSp>
        <p:nvCxnSpPr>
          <p:cNvPr id="7566" name="Straight Connector 7565">
            <a:extLst>
              <a:ext uri="{FF2B5EF4-FFF2-40B4-BE49-F238E27FC236}">
                <a16:creationId xmlns:a16="http://schemas.microsoft.com/office/drawing/2014/main" id="{FB590692-CDF2-179B-4B26-3D1D6410F54A}"/>
              </a:ext>
            </a:extLst>
          </p:cNvPr>
          <p:cNvCxnSpPr>
            <a:cxnSpLocks/>
          </p:cNvCxnSpPr>
          <p:nvPr/>
        </p:nvCxnSpPr>
        <p:spPr>
          <a:xfrm flipH="1" flipV="1">
            <a:off x="4684343" y="2165871"/>
            <a:ext cx="337106" cy="337106"/>
          </a:xfrm>
          <a:prstGeom prst="line">
            <a:avLst/>
          </a:prstGeom>
          <a:ln w="1270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7567" name="Straight Connector 7566">
            <a:extLst>
              <a:ext uri="{FF2B5EF4-FFF2-40B4-BE49-F238E27FC236}">
                <a16:creationId xmlns:a16="http://schemas.microsoft.com/office/drawing/2014/main" id="{CCDE6EA6-F6D1-2A3F-95C7-CE8AB92656A9}"/>
              </a:ext>
            </a:extLst>
          </p:cNvPr>
          <p:cNvCxnSpPr>
            <a:cxnSpLocks/>
          </p:cNvCxnSpPr>
          <p:nvPr/>
        </p:nvCxnSpPr>
        <p:spPr>
          <a:xfrm flipV="1">
            <a:off x="7019925" y="2175396"/>
            <a:ext cx="423507" cy="425259"/>
          </a:xfrm>
          <a:prstGeom prst="line">
            <a:avLst/>
          </a:prstGeom>
          <a:ln w="12700" cap="flat" cmpd="sng" algn="ctr">
            <a:solidFill>
              <a:schemeClr val="accent2">
                <a:lumMod val="100000"/>
              </a:schemeClr>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568" name="Freeform 16">
            <a:extLst>
              <a:ext uri="{FF2B5EF4-FFF2-40B4-BE49-F238E27FC236}">
                <a16:creationId xmlns:a16="http://schemas.microsoft.com/office/drawing/2014/main" id="{B0D87B02-6340-C719-C72E-FE2F60C224B5}"/>
              </a:ext>
            </a:extLst>
          </p:cNvPr>
          <p:cNvSpPr>
            <a:spLocks/>
          </p:cNvSpPr>
          <p:nvPr/>
        </p:nvSpPr>
        <p:spPr bwMode="auto">
          <a:xfrm rot="8853483">
            <a:off x="4384856" y="1859103"/>
            <a:ext cx="3420000" cy="3420000"/>
          </a:xfrm>
          <a:prstGeom prst="arc">
            <a:avLst>
              <a:gd name="adj1" fmla="val 13598574"/>
              <a:gd name="adj2" fmla="val 10788521"/>
            </a:avLst>
          </a:prstGeom>
          <a:noFill/>
          <a:ln w="19050" cap="rnd" cmpd="sng" algn="ctr">
            <a:solidFill>
              <a:schemeClr val="accent4"/>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cxnSp>
        <p:nvCxnSpPr>
          <p:cNvPr id="7569" name="Straight Connector 7568">
            <a:extLst>
              <a:ext uri="{FF2B5EF4-FFF2-40B4-BE49-F238E27FC236}">
                <a16:creationId xmlns:a16="http://schemas.microsoft.com/office/drawing/2014/main" id="{B893596C-ED42-B8BB-C76A-EFFB59B7BF4D}"/>
              </a:ext>
            </a:extLst>
          </p:cNvPr>
          <p:cNvCxnSpPr/>
          <p:nvPr/>
        </p:nvCxnSpPr>
        <p:spPr>
          <a:xfrm flipH="1">
            <a:off x="4693869" y="4392846"/>
            <a:ext cx="535356" cy="535357"/>
          </a:xfrm>
          <a:prstGeom prst="line">
            <a:avLst/>
          </a:prstGeom>
          <a:ln w="12700" cap="flat" cmpd="sng" algn="ctr">
            <a:solidFill>
              <a:schemeClr val="accent3">
                <a:lumMod val="100000"/>
              </a:schemeClr>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570" name="Group 7569">
            <a:extLst>
              <a:ext uri="{FF2B5EF4-FFF2-40B4-BE49-F238E27FC236}">
                <a16:creationId xmlns:a16="http://schemas.microsoft.com/office/drawing/2014/main" id="{B1BA0120-E467-529F-5F81-581231CC7DC9}"/>
              </a:ext>
            </a:extLst>
          </p:cNvPr>
          <p:cNvGrpSpPr/>
          <p:nvPr/>
        </p:nvGrpSpPr>
        <p:grpSpPr>
          <a:xfrm>
            <a:off x="5104779" y="2601893"/>
            <a:ext cx="1965901" cy="3392018"/>
            <a:chOff x="5106024" y="2591673"/>
            <a:chExt cx="1965901" cy="3392018"/>
          </a:xfrm>
        </p:grpSpPr>
        <p:grpSp>
          <p:nvGrpSpPr>
            <p:cNvPr id="7571" name="Group 7570">
              <a:extLst>
                <a:ext uri="{FF2B5EF4-FFF2-40B4-BE49-F238E27FC236}">
                  <a16:creationId xmlns:a16="http://schemas.microsoft.com/office/drawing/2014/main" id="{CB4FF084-9E29-B45F-9592-3116D004EDF6}"/>
                </a:ext>
              </a:extLst>
            </p:cNvPr>
            <p:cNvGrpSpPr/>
            <p:nvPr/>
          </p:nvGrpSpPr>
          <p:grpSpPr>
            <a:xfrm>
              <a:off x="5911995" y="4462441"/>
              <a:ext cx="362389" cy="1521250"/>
              <a:chOff x="5911995" y="4462441"/>
              <a:chExt cx="362389" cy="1521250"/>
            </a:xfrm>
          </p:grpSpPr>
          <p:sp>
            <p:nvSpPr>
              <p:cNvPr id="7575" name="Rectangle 7574">
                <a:extLst>
                  <a:ext uri="{FF2B5EF4-FFF2-40B4-BE49-F238E27FC236}">
                    <a16:creationId xmlns:a16="http://schemas.microsoft.com/office/drawing/2014/main" id="{5C8367F1-B31F-AD07-059F-1F397C34E23C}"/>
                  </a:ext>
                </a:extLst>
              </p:cNvPr>
              <p:cNvSpPr/>
              <p:nvPr/>
            </p:nvSpPr>
            <p:spPr bwMode="gray">
              <a:xfrm>
                <a:off x="5992058" y="4570026"/>
                <a:ext cx="202266" cy="134842"/>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latin typeface="Aptos" panose="020B0004020202020204" pitchFamily="34" charset="0"/>
                  <a:cs typeface="Aparajita" panose="020B0502040204020203" pitchFamily="18" charset="0"/>
                </a:endParaRPr>
              </a:p>
            </p:txBody>
          </p:sp>
          <p:sp>
            <p:nvSpPr>
              <p:cNvPr id="7576" name="Rectangle 7575">
                <a:extLst>
                  <a:ext uri="{FF2B5EF4-FFF2-40B4-BE49-F238E27FC236}">
                    <a16:creationId xmlns:a16="http://schemas.microsoft.com/office/drawing/2014/main" id="{168B9375-BCAE-27BD-902D-26285D9E32D2}"/>
                  </a:ext>
                </a:extLst>
              </p:cNvPr>
              <p:cNvSpPr/>
              <p:nvPr/>
            </p:nvSpPr>
            <p:spPr bwMode="gray">
              <a:xfrm>
                <a:off x="5911995" y="4684415"/>
                <a:ext cx="362389" cy="1299276"/>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latin typeface="Aptos" panose="020B0004020202020204" pitchFamily="34" charset="0"/>
                  <a:cs typeface="Aparajita" panose="020B0502040204020203" pitchFamily="18" charset="0"/>
                </a:endParaRPr>
              </a:p>
            </p:txBody>
          </p:sp>
          <p:sp>
            <p:nvSpPr>
              <p:cNvPr id="7577" name="Rectangle 7576">
                <a:extLst>
                  <a:ext uri="{FF2B5EF4-FFF2-40B4-BE49-F238E27FC236}">
                    <a16:creationId xmlns:a16="http://schemas.microsoft.com/office/drawing/2014/main" id="{31AF975E-4930-1AE1-0B13-9C63CF810440}"/>
                  </a:ext>
                </a:extLst>
              </p:cNvPr>
              <p:cNvSpPr/>
              <p:nvPr/>
            </p:nvSpPr>
            <p:spPr bwMode="gray">
              <a:xfrm>
                <a:off x="5953706" y="4462441"/>
                <a:ext cx="278970" cy="134842"/>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latin typeface="Aptos" panose="020B0004020202020204" pitchFamily="34" charset="0"/>
                  <a:cs typeface="Aparajita" panose="020B0502040204020203" pitchFamily="18" charset="0"/>
                </a:endParaRPr>
              </a:p>
            </p:txBody>
          </p:sp>
        </p:grpSp>
        <p:sp>
          <p:nvSpPr>
            <p:cNvPr id="7572" name="Freeform 97">
              <a:extLst>
                <a:ext uri="{FF2B5EF4-FFF2-40B4-BE49-F238E27FC236}">
                  <a16:creationId xmlns:a16="http://schemas.microsoft.com/office/drawing/2014/main" id="{6EBB8C00-8AC2-66B2-A940-B75A065185BE}"/>
                </a:ext>
              </a:extLst>
            </p:cNvPr>
            <p:cNvSpPr>
              <a:spLocks/>
            </p:cNvSpPr>
            <p:nvPr/>
          </p:nvSpPr>
          <p:spPr bwMode="auto">
            <a:xfrm>
              <a:off x="5106024" y="2591673"/>
              <a:ext cx="1965901" cy="1964420"/>
            </a:xfrm>
            <a:custGeom>
              <a:avLst/>
              <a:gdLst>
                <a:gd name="T0" fmla="*/ 1076 w 1122"/>
                <a:gd name="T1" fmla="*/ 561 h 1121"/>
                <a:gd name="T2" fmla="*/ 1030 w 1122"/>
                <a:gd name="T3" fmla="*/ 561 h 1121"/>
                <a:gd name="T4" fmla="*/ 993 w 1122"/>
                <a:gd name="T5" fmla="*/ 743 h 1121"/>
                <a:gd name="T6" fmla="*/ 823 w 1122"/>
                <a:gd name="T7" fmla="*/ 949 h 1121"/>
                <a:gd name="T8" fmla="*/ 561 w 1122"/>
                <a:gd name="T9" fmla="*/ 1029 h 1121"/>
                <a:gd name="T10" fmla="*/ 379 w 1122"/>
                <a:gd name="T11" fmla="*/ 993 h 1121"/>
                <a:gd name="T12" fmla="*/ 172 w 1122"/>
                <a:gd name="T13" fmla="*/ 823 h 1121"/>
                <a:gd name="T14" fmla="*/ 92 w 1122"/>
                <a:gd name="T15" fmla="*/ 561 h 1121"/>
                <a:gd name="T16" fmla="*/ 129 w 1122"/>
                <a:gd name="T17" fmla="*/ 378 h 1121"/>
                <a:gd name="T18" fmla="*/ 299 w 1122"/>
                <a:gd name="T19" fmla="*/ 172 h 1121"/>
                <a:gd name="T20" fmla="*/ 561 w 1122"/>
                <a:gd name="T21" fmla="*/ 92 h 1121"/>
                <a:gd name="T22" fmla="*/ 744 w 1122"/>
                <a:gd name="T23" fmla="*/ 128 h 1121"/>
                <a:gd name="T24" fmla="*/ 950 w 1122"/>
                <a:gd name="T25" fmla="*/ 298 h 1121"/>
                <a:gd name="T26" fmla="*/ 1030 w 1122"/>
                <a:gd name="T27" fmla="*/ 561 h 1121"/>
                <a:gd name="T28" fmla="*/ 1076 w 1122"/>
                <a:gd name="T29" fmla="*/ 561 h 1121"/>
                <a:gd name="T30" fmla="*/ 1122 w 1122"/>
                <a:gd name="T31" fmla="*/ 561 h 1121"/>
                <a:gd name="T32" fmla="*/ 1078 w 1122"/>
                <a:gd name="T33" fmla="*/ 342 h 1121"/>
                <a:gd name="T34" fmla="*/ 875 w 1122"/>
                <a:gd name="T35" fmla="*/ 96 h 1121"/>
                <a:gd name="T36" fmla="*/ 561 w 1122"/>
                <a:gd name="T37" fmla="*/ 0 h 1121"/>
                <a:gd name="T38" fmla="*/ 343 w 1122"/>
                <a:gd name="T39" fmla="*/ 44 h 1121"/>
                <a:gd name="T40" fmla="*/ 96 w 1122"/>
                <a:gd name="T41" fmla="*/ 247 h 1121"/>
                <a:gd name="T42" fmla="*/ 0 w 1122"/>
                <a:gd name="T43" fmla="*/ 561 h 1121"/>
                <a:gd name="T44" fmla="*/ 44 w 1122"/>
                <a:gd name="T45" fmla="*/ 779 h 1121"/>
                <a:gd name="T46" fmla="*/ 248 w 1122"/>
                <a:gd name="T47" fmla="*/ 1026 h 1121"/>
                <a:gd name="T48" fmla="*/ 561 w 1122"/>
                <a:gd name="T49" fmla="*/ 1121 h 1121"/>
                <a:gd name="T50" fmla="*/ 779 w 1122"/>
                <a:gd name="T51" fmla="*/ 1077 h 1121"/>
                <a:gd name="T52" fmla="*/ 1026 w 1122"/>
                <a:gd name="T53" fmla="*/ 874 h 1121"/>
                <a:gd name="T54" fmla="*/ 1122 w 1122"/>
                <a:gd name="T55" fmla="*/ 561 h 1121"/>
                <a:gd name="T56" fmla="*/ 1076 w 1122"/>
                <a:gd name="T57" fmla="*/ 561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2" h="1121">
                  <a:moveTo>
                    <a:pt x="1076" y="561"/>
                  </a:moveTo>
                  <a:cubicBezTo>
                    <a:pt x="1030" y="561"/>
                    <a:pt x="1030" y="561"/>
                    <a:pt x="1030" y="561"/>
                  </a:cubicBezTo>
                  <a:cubicBezTo>
                    <a:pt x="1030" y="625"/>
                    <a:pt x="1017" y="687"/>
                    <a:pt x="993" y="743"/>
                  </a:cubicBezTo>
                  <a:cubicBezTo>
                    <a:pt x="958" y="827"/>
                    <a:pt x="898" y="899"/>
                    <a:pt x="823" y="949"/>
                  </a:cubicBezTo>
                  <a:cubicBezTo>
                    <a:pt x="748" y="1000"/>
                    <a:pt x="658" y="1029"/>
                    <a:pt x="561" y="1029"/>
                  </a:cubicBezTo>
                  <a:cubicBezTo>
                    <a:pt x="496" y="1029"/>
                    <a:pt x="435" y="1016"/>
                    <a:pt x="379" y="993"/>
                  </a:cubicBezTo>
                  <a:cubicBezTo>
                    <a:pt x="294" y="957"/>
                    <a:pt x="223" y="898"/>
                    <a:pt x="172" y="823"/>
                  </a:cubicBezTo>
                  <a:cubicBezTo>
                    <a:pt x="122" y="748"/>
                    <a:pt x="92" y="658"/>
                    <a:pt x="92" y="561"/>
                  </a:cubicBezTo>
                  <a:cubicBezTo>
                    <a:pt x="92" y="496"/>
                    <a:pt x="105" y="434"/>
                    <a:pt x="129" y="378"/>
                  </a:cubicBezTo>
                  <a:cubicBezTo>
                    <a:pt x="165" y="294"/>
                    <a:pt x="224" y="222"/>
                    <a:pt x="299" y="172"/>
                  </a:cubicBezTo>
                  <a:cubicBezTo>
                    <a:pt x="374" y="121"/>
                    <a:pt x="464" y="92"/>
                    <a:pt x="561" y="92"/>
                  </a:cubicBezTo>
                  <a:cubicBezTo>
                    <a:pt x="626" y="92"/>
                    <a:pt x="688" y="105"/>
                    <a:pt x="744" y="128"/>
                  </a:cubicBezTo>
                  <a:cubicBezTo>
                    <a:pt x="828" y="164"/>
                    <a:pt x="899" y="224"/>
                    <a:pt x="950" y="298"/>
                  </a:cubicBezTo>
                  <a:cubicBezTo>
                    <a:pt x="1000" y="373"/>
                    <a:pt x="1030" y="463"/>
                    <a:pt x="1030" y="561"/>
                  </a:cubicBezTo>
                  <a:cubicBezTo>
                    <a:pt x="1076" y="561"/>
                    <a:pt x="1076" y="561"/>
                    <a:pt x="1076" y="561"/>
                  </a:cubicBezTo>
                  <a:cubicBezTo>
                    <a:pt x="1122" y="561"/>
                    <a:pt x="1122" y="561"/>
                    <a:pt x="1122" y="561"/>
                  </a:cubicBezTo>
                  <a:cubicBezTo>
                    <a:pt x="1122" y="483"/>
                    <a:pt x="1106" y="409"/>
                    <a:pt x="1078" y="342"/>
                  </a:cubicBezTo>
                  <a:cubicBezTo>
                    <a:pt x="1035" y="242"/>
                    <a:pt x="964" y="156"/>
                    <a:pt x="875" y="96"/>
                  </a:cubicBezTo>
                  <a:cubicBezTo>
                    <a:pt x="785" y="35"/>
                    <a:pt x="677" y="0"/>
                    <a:pt x="561" y="0"/>
                  </a:cubicBezTo>
                  <a:cubicBezTo>
                    <a:pt x="484" y="0"/>
                    <a:pt x="410" y="15"/>
                    <a:pt x="343" y="44"/>
                  </a:cubicBezTo>
                  <a:cubicBezTo>
                    <a:pt x="242" y="86"/>
                    <a:pt x="157" y="157"/>
                    <a:pt x="96" y="247"/>
                  </a:cubicBezTo>
                  <a:cubicBezTo>
                    <a:pt x="36" y="336"/>
                    <a:pt x="0" y="445"/>
                    <a:pt x="0" y="561"/>
                  </a:cubicBezTo>
                  <a:cubicBezTo>
                    <a:pt x="0" y="638"/>
                    <a:pt x="16" y="712"/>
                    <a:pt x="44" y="779"/>
                  </a:cubicBezTo>
                  <a:cubicBezTo>
                    <a:pt x="87" y="880"/>
                    <a:pt x="158" y="965"/>
                    <a:pt x="248" y="1026"/>
                  </a:cubicBezTo>
                  <a:cubicBezTo>
                    <a:pt x="337" y="1086"/>
                    <a:pt x="445" y="1121"/>
                    <a:pt x="561" y="1121"/>
                  </a:cubicBezTo>
                  <a:cubicBezTo>
                    <a:pt x="638" y="1121"/>
                    <a:pt x="712" y="1106"/>
                    <a:pt x="779" y="1077"/>
                  </a:cubicBezTo>
                  <a:cubicBezTo>
                    <a:pt x="880" y="1035"/>
                    <a:pt x="966" y="964"/>
                    <a:pt x="1026" y="874"/>
                  </a:cubicBezTo>
                  <a:cubicBezTo>
                    <a:pt x="1087" y="785"/>
                    <a:pt x="1122" y="677"/>
                    <a:pt x="1122" y="561"/>
                  </a:cubicBezTo>
                  <a:lnTo>
                    <a:pt x="1076" y="561"/>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sp>
          <p:nvSpPr>
            <p:cNvPr id="7573" name="Freeform 98">
              <a:extLst>
                <a:ext uri="{FF2B5EF4-FFF2-40B4-BE49-F238E27FC236}">
                  <a16:creationId xmlns:a16="http://schemas.microsoft.com/office/drawing/2014/main" id="{1B19FB57-25E7-5967-1CF8-CBA68E21B23E}"/>
                </a:ext>
              </a:extLst>
            </p:cNvPr>
            <p:cNvSpPr>
              <a:spLocks/>
            </p:cNvSpPr>
            <p:nvPr/>
          </p:nvSpPr>
          <p:spPr bwMode="auto">
            <a:xfrm>
              <a:off x="5135193" y="2621591"/>
              <a:ext cx="1906824" cy="1905322"/>
            </a:xfrm>
            <a:custGeom>
              <a:avLst/>
              <a:gdLst>
                <a:gd name="T0" fmla="*/ 1053 w 1076"/>
                <a:gd name="T1" fmla="*/ 538 h 1075"/>
                <a:gd name="T2" fmla="*/ 1030 w 1076"/>
                <a:gd name="T3" fmla="*/ 538 h 1075"/>
                <a:gd name="T4" fmla="*/ 886 w 1076"/>
                <a:gd name="T5" fmla="*/ 885 h 1075"/>
                <a:gd name="T6" fmla="*/ 538 w 1076"/>
                <a:gd name="T7" fmla="*/ 1029 h 1075"/>
                <a:gd name="T8" fmla="*/ 190 w 1076"/>
                <a:gd name="T9" fmla="*/ 885 h 1075"/>
                <a:gd name="T10" fmla="*/ 46 w 1076"/>
                <a:gd name="T11" fmla="*/ 538 h 1075"/>
                <a:gd name="T12" fmla="*/ 190 w 1076"/>
                <a:gd name="T13" fmla="*/ 190 h 1075"/>
                <a:gd name="T14" fmla="*/ 538 w 1076"/>
                <a:gd name="T15" fmla="*/ 46 h 1075"/>
                <a:gd name="T16" fmla="*/ 886 w 1076"/>
                <a:gd name="T17" fmla="*/ 190 h 1075"/>
                <a:gd name="T18" fmla="*/ 1030 w 1076"/>
                <a:gd name="T19" fmla="*/ 538 h 1075"/>
                <a:gd name="T20" fmla="*/ 1053 w 1076"/>
                <a:gd name="T21" fmla="*/ 538 h 1075"/>
                <a:gd name="T22" fmla="*/ 1076 w 1076"/>
                <a:gd name="T23" fmla="*/ 538 h 1075"/>
                <a:gd name="T24" fmla="*/ 918 w 1076"/>
                <a:gd name="T25" fmla="*/ 157 h 1075"/>
                <a:gd name="T26" fmla="*/ 538 w 1076"/>
                <a:gd name="T27" fmla="*/ 0 h 1075"/>
                <a:gd name="T28" fmla="*/ 158 w 1076"/>
                <a:gd name="T29" fmla="*/ 157 h 1075"/>
                <a:gd name="T30" fmla="*/ 0 w 1076"/>
                <a:gd name="T31" fmla="*/ 538 h 1075"/>
                <a:gd name="T32" fmla="*/ 158 w 1076"/>
                <a:gd name="T33" fmla="*/ 918 h 1075"/>
                <a:gd name="T34" fmla="*/ 538 w 1076"/>
                <a:gd name="T35" fmla="*/ 1075 h 1075"/>
                <a:gd name="T36" fmla="*/ 918 w 1076"/>
                <a:gd name="T37" fmla="*/ 918 h 1075"/>
                <a:gd name="T38" fmla="*/ 1076 w 1076"/>
                <a:gd name="T39" fmla="*/ 538 h 1075"/>
                <a:gd name="T40" fmla="*/ 1053 w 1076"/>
                <a:gd name="T41" fmla="*/ 538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6" h="1075">
                  <a:moveTo>
                    <a:pt x="1053" y="538"/>
                  </a:moveTo>
                  <a:cubicBezTo>
                    <a:pt x="1030" y="538"/>
                    <a:pt x="1030" y="538"/>
                    <a:pt x="1030" y="538"/>
                  </a:cubicBezTo>
                  <a:cubicBezTo>
                    <a:pt x="1030" y="673"/>
                    <a:pt x="975" y="796"/>
                    <a:pt x="886" y="885"/>
                  </a:cubicBezTo>
                  <a:cubicBezTo>
                    <a:pt x="797" y="974"/>
                    <a:pt x="674" y="1029"/>
                    <a:pt x="538" y="1029"/>
                  </a:cubicBezTo>
                  <a:cubicBezTo>
                    <a:pt x="402" y="1029"/>
                    <a:pt x="279" y="974"/>
                    <a:pt x="190" y="885"/>
                  </a:cubicBezTo>
                  <a:cubicBezTo>
                    <a:pt x="101" y="796"/>
                    <a:pt x="46" y="673"/>
                    <a:pt x="46" y="538"/>
                  </a:cubicBezTo>
                  <a:cubicBezTo>
                    <a:pt x="46" y="402"/>
                    <a:pt x="101" y="279"/>
                    <a:pt x="190" y="190"/>
                  </a:cubicBezTo>
                  <a:cubicBezTo>
                    <a:pt x="279" y="101"/>
                    <a:pt x="402" y="46"/>
                    <a:pt x="538" y="46"/>
                  </a:cubicBezTo>
                  <a:cubicBezTo>
                    <a:pt x="674" y="46"/>
                    <a:pt x="797" y="101"/>
                    <a:pt x="886" y="190"/>
                  </a:cubicBezTo>
                  <a:cubicBezTo>
                    <a:pt x="975" y="279"/>
                    <a:pt x="1030" y="402"/>
                    <a:pt x="1030" y="538"/>
                  </a:cubicBezTo>
                  <a:cubicBezTo>
                    <a:pt x="1053" y="538"/>
                    <a:pt x="1053" y="538"/>
                    <a:pt x="1053" y="538"/>
                  </a:cubicBezTo>
                  <a:cubicBezTo>
                    <a:pt x="1076" y="538"/>
                    <a:pt x="1076" y="538"/>
                    <a:pt x="1076" y="538"/>
                  </a:cubicBezTo>
                  <a:cubicBezTo>
                    <a:pt x="1076" y="389"/>
                    <a:pt x="1016" y="255"/>
                    <a:pt x="918" y="157"/>
                  </a:cubicBezTo>
                  <a:cubicBezTo>
                    <a:pt x="821" y="60"/>
                    <a:pt x="687" y="0"/>
                    <a:pt x="538" y="0"/>
                  </a:cubicBezTo>
                  <a:cubicBezTo>
                    <a:pt x="390" y="0"/>
                    <a:pt x="255" y="60"/>
                    <a:pt x="158" y="157"/>
                  </a:cubicBezTo>
                  <a:cubicBezTo>
                    <a:pt x="61" y="255"/>
                    <a:pt x="0" y="389"/>
                    <a:pt x="0" y="538"/>
                  </a:cubicBezTo>
                  <a:cubicBezTo>
                    <a:pt x="0" y="686"/>
                    <a:pt x="61" y="821"/>
                    <a:pt x="158" y="918"/>
                  </a:cubicBezTo>
                  <a:cubicBezTo>
                    <a:pt x="255" y="1015"/>
                    <a:pt x="390" y="1075"/>
                    <a:pt x="538" y="1075"/>
                  </a:cubicBezTo>
                  <a:cubicBezTo>
                    <a:pt x="687" y="1075"/>
                    <a:pt x="821" y="1015"/>
                    <a:pt x="918" y="918"/>
                  </a:cubicBezTo>
                  <a:cubicBezTo>
                    <a:pt x="1016" y="821"/>
                    <a:pt x="1076" y="686"/>
                    <a:pt x="1076" y="538"/>
                  </a:cubicBezTo>
                  <a:lnTo>
                    <a:pt x="1053" y="5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sp>
          <p:nvSpPr>
            <p:cNvPr id="7574" name="Oval 19">
              <a:extLst>
                <a:ext uri="{FF2B5EF4-FFF2-40B4-BE49-F238E27FC236}">
                  <a16:creationId xmlns:a16="http://schemas.microsoft.com/office/drawing/2014/main" id="{6CFDD598-092C-36F0-D568-76812CE62EA6}"/>
                </a:ext>
              </a:extLst>
            </p:cNvPr>
            <p:cNvSpPr>
              <a:spLocks noChangeArrowheads="1"/>
            </p:cNvSpPr>
            <p:nvPr/>
          </p:nvSpPr>
          <p:spPr bwMode="auto">
            <a:xfrm>
              <a:off x="5177288" y="2663676"/>
              <a:ext cx="1822634" cy="18226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cs typeface="Aparajita" panose="020B0502040204020203" pitchFamily="18" charset="0"/>
              </a:endParaRPr>
            </a:p>
          </p:txBody>
        </p:sp>
      </p:grpSp>
      <p:grpSp>
        <p:nvGrpSpPr>
          <p:cNvPr id="7578" name="Group 417">
            <a:extLst>
              <a:ext uri="{FF2B5EF4-FFF2-40B4-BE49-F238E27FC236}">
                <a16:creationId xmlns:a16="http://schemas.microsoft.com/office/drawing/2014/main" id="{3D546AA4-C941-98B4-9729-538FFB0DA512}"/>
              </a:ext>
            </a:extLst>
          </p:cNvPr>
          <p:cNvGrpSpPr>
            <a:grpSpLocks noChangeAspect="1"/>
          </p:cNvGrpSpPr>
          <p:nvPr/>
        </p:nvGrpSpPr>
        <p:grpSpPr bwMode="auto">
          <a:xfrm>
            <a:off x="7348751" y="4807266"/>
            <a:ext cx="808870" cy="811246"/>
            <a:chOff x="2725" y="1609"/>
            <a:chExt cx="340" cy="341"/>
          </a:xfrm>
          <a:solidFill>
            <a:schemeClr val="accent4"/>
          </a:solidFill>
        </p:grpSpPr>
        <p:sp>
          <p:nvSpPr>
            <p:cNvPr id="7579" name="Freeform 418">
              <a:extLst>
                <a:ext uri="{FF2B5EF4-FFF2-40B4-BE49-F238E27FC236}">
                  <a16:creationId xmlns:a16="http://schemas.microsoft.com/office/drawing/2014/main" id="{8A53E9D5-4B27-E1D3-86C6-2E0A05E5104A}"/>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sp>
          <p:nvSpPr>
            <p:cNvPr id="7580" name="Freeform 419">
              <a:extLst>
                <a:ext uri="{FF2B5EF4-FFF2-40B4-BE49-F238E27FC236}">
                  <a16:creationId xmlns:a16="http://schemas.microsoft.com/office/drawing/2014/main" id="{A135AFCA-12BD-8C97-375A-334E0F9C92A8}"/>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ea typeface="华文细黑" panose="02010600040101010101" pitchFamily="2" charset="-122"/>
                <a:cs typeface="Aparajita" panose="020B0502040204020203" pitchFamily="18" charset="0"/>
              </a:endParaRPr>
            </a:p>
          </p:txBody>
        </p:sp>
      </p:grpSp>
      <p:cxnSp>
        <p:nvCxnSpPr>
          <p:cNvPr id="7581" name="Straight Connector 7580">
            <a:extLst>
              <a:ext uri="{FF2B5EF4-FFF2-40B4-BE49-F238E27FC236}">
                <a16:creationId xmlns:a16="http://schemas.microsoft.com/office/drawing/2014/main" id="{F1219E11-DF29-ACCF-25CC-686860E5D5FE}"/>
              </a:ext>
            </a:extLst>
          </p:cNvPr>
          <p:cNvCxnSpPr>
            <a:cxnSpLocks/>
          </p:cNvCxnSpPr>
          <p:nvPr/>
        </p:nvCxnSpPr>
        <p:spPr>
          <a:xfrm>
            <a:off x="7247017" y="4831871"/>
            <a:ext cx="177634" cy="155313"/>
          </a:xfrm>
          <a:prstGeom prst="line">
            <a:avLst/>
          </a:prstGeom>
          <a:ln w="12700" cap="flat" cmpd="sng" algn="ctr">
            <a:solidFill>
              <a:schemeClr val="accent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582" name="文本框 113">
            <a:extLst>
              <a:ext uri="{FF2B5EF4-FFF2-40B4-BE49-F238E27FC236}">
                <a16:creationId xmlns:a16="http://schemas.microsoft.com/office/drawing/2014/main" id="{84E3092A-BF5B-A462-E2A5-09365191CD98}"/>
              </a:ext>
            </a:extLst>
          </p:cNvPr>
          <p:cNvSpPr txBox="1">
            <a:spLocks/>
          </p:cNvSpPr>
          <p:nvPr/>
        </p:nvSpPr>
        <p:spPr>
          <a:xfrm>
            <a:off x="589214" y="1425956"/>
            <a:ext cx="3276445" cy="1080873"/>
          </a:xfrm>
          <a:prstGeom prst="rect">
            <a:avLst/>
          </a:prstGeom>
          <a:noFill/>
        </p:spPr>
        <p:txBody>
          <a:bodyPr wrap="square" lIns="0" tIns="0" rIns="0" bIns="0" rtlCol="0" anchor="b">
            <a:spAutoFit/>
          </a:bodyPr>
          <a:lstStyle/>
          <a:p>
            <a:pPr>
              <a:lnSpc>
                <a:spcPts val="1200"/>
              </a:lnSpc>
              <a:spcAft>
                <a:spcPts val="1200"/>
              </a:spcAft>
              <a:buSzPct val="100000"/>
            </a:pPr>
            <a:r>
              <a:rPr lang="en-US" b="1" err="1">
                <a:solidFill>
                  <a:schemeClr val="accent2">
                    <a:lumMod val="100000"/>
                  </a:schemeClr>
                </a:solidFill>
                <a:latin typeface="Aptos" panose="020B0004020202020204" pitchFamily="34" charset="0"/>
                <a:cs typeface="Aparajita" panose="020B0502040204020203" pitchFamily="18" charset="0"/>
              </a:rPr>
              <a:t>Vertrauen</a:t>
            </a:r>
            <a:r>
              <a:rPr lang="en-US" b="1">
                <a:solidFill>
                  <a:schemeClr val="accent2">
                    <a:lumMod val="100000"/>
                  </a:schemeClr>
                </a:solidFill>
                <a:latin typeface="Aptos" panose="020B0004020202020204" pitchFamily="34" charset="0"/>
                <a:cs typeface="Aparajita" panose="020B0502040204020203" pitchFamily="18" charset="0"/>
              </a:rPr>
              <a:t> </a:t>
            </a:r>
            <a:r>
              <a:rPr lang="en-US" b="1" err="1">
                <a:solidFill>
                  <a:schemeClr val="accent2">
                    <a:lumMod val="100000"/>
                  </a:schemeClr>
                </a:solidFill>
                <a:latin typeface="Aptos" panose="020B0004020202020204" pitchFamily="34" charset="0"/>
                <a:cs typeface="Aparajita" panose="020B0502040204020203" pitchFamily="18" charset="0"/>
              </a:rPr>
              <a:t>statt</a:t>
            </a:r>
            <a:r>
              <a:rPr lang="en-US" b="1">
                <a:solidFill>
                  <a:schemeClr val="accent2">
                    <a:lumMod val="100000"/>
                  </a:schemeClr>
                </a:solidFill>
                <a:latin typeface="Aptos" panose="020B0004020202020204" pitchFamily="34" charset="0"/>
                <a:cs typeface="Aparajita" panose="020B0502040204020203" pitchFamily="18" charset="0"/>
              </a:rPr>
              <a:t> </a:t>
            </a:r>
            <a:r>
              <a:rPr lang="en-US" b="1" err="1">
                <a:solidFill>
                  <a:schemeClr val="accent2">
                    <a:lumMod val="100000"/>
                  </a:schemeClr>
                </a:solidFill>
                <a:latin typeface="Aptos" panose="020B0004020202020204" pitchFamily="34" charset="0"/>
                <a:cs typeface="Aparajita" panose="020B0502040204020203" pitchFamily="18" charset="0"/>
              </a:rPr>
              <a:t>Kontrolle</a:t>
            </a:r>
            <a:r>
              <a:rPr lang="en-US" b="1">
                <a:solidFill>
                  <a:schemeClr val="accent2">
                    <a:lumMod val="100000"/>
                  </a:schemeClr>
                </a:solidFill>
                <a:latin typeface="Aptos" panose="020B0004020202020204" pitchFamily="34" charset="0"/>
                <a:cs typeface="Aparajita" panose="020B0502040204020203" pitchFamily="18" charset="0"/>
              </a:rPr>
              <a:t> </a:t>
            </a:r>
            <a:endParaRPr lang="en-US" altLang="zh-CN" b="1">
              <a:solidFill>
                <a:schemeClr val="accent2">
                  <a:lumMod val="100000"/>
                </a:schemeClr>
              </a:solidFill>
              <a:latin typeface="Aptos" panose="020B0004020202020204" pitchFamily="34" charset="0"/>
              <a:cs typeface="Aparajita" panose="020B0502040204020203" pitchFamily="18" charset="0"/>
            </a:endParaRPr>
          </a:p>
          <a:p>
            <a:r>
              <a:rPr lang="de-AT" sz="1200">
                <a:solidFill>
                  <a:prstClr val="black"/>
                </a:solidFill>
                <a:latin typeface="Aptos" panose="020B0004020202020204" pitchFamily="34" charset="0"/>
                <a:cs typeface="Aparajita" panose="020B0502040204020203" pitchFamily="18" charset="0"/>
              </a:rPr>
              <a:t>Vertrauen ist eine Grundvoraussetzung für nachhaltige Transformationen. Nur wenn Stakeholder eigenverantwortlich handeln können, wird eine resiliente Sicherheitskultur etabliert.</a:t>
            </a:r>
            <a:endParaRPr lang="en-US" altLang="zh-CN" sz="1200">
              <a:solidFill>
                <a:prstClr val="black"/>
              </a:solidFill>
              <a:latin typeface="Aptos" panose="020B0004020202020204" pitchFamily="34" charset="0"/>
              <a:cs typeface="Aparajita" panose="020B0502040204020203" pitchFamily="18" charset="0"/>
            </a:endParaRPr>
          </a:p>
        </p:txBody>
      </p:sp>
      <p:sp>
        <p:nvSpPr>
          <p:cNvPr id="5890" name="文本框 114">
            <a:extLst>
              <a:ext uri="{FF2B5EF4-FFF2-40B4-BE49-F238E27FC236}">
                <a16:creationId xmlns:a16="http://schemas.microsoft.com/office/drawing/2014/main" id="{C06AA40A-DEDF-FF4F-2740-682371275F49}"/>
              </a:ext>
            </a:extLst>
          </p:cNvPr>
          <p:cNvSpPr txBox="1">
            <a:spLocks/>
          </p:cNvSpPr>
          <p:nvPr/>
        </p:nvSpPr>
        <p:spPr>
          <a:xfrm>
            <a:off x="8455307" y="3943540"/>
            <a:ext cx="3452441" cy="1204432"/>
          </a:xfrm>
          <a:prstGeom prst="rect">
            <a:avLst/>
          </a:prstGeom>
          <a:noFill/>
        </p:spPr>
        <p:txBody>
          <a:bodyPr wrap="square" lIns="0" tIns="0" rIns="0" bIns="0" rtlCol="0" anchor="t">
            <a:spAutoFit/>
          </a:bodyPr>
          <a:lstStyle/>
          <a:p>
            <a:pPr>
              <a:spcAft>
                <a:spcPts val="1200"/>
              </a:spcAft>
              <a:buSzPct val="100000"/>
            </a:pPr>
            <a:r>
              <a:rPr lang="en-US" b="1" dirty="0">
                <a:solidFill>
                  <a:schemeClr val="accent2">
                    <a:lumMod val="100000"/>
                  </a:schemeClr>
                </a:solidFill>
                <a:latin typeface="Aptos" panose="020B0004020202020204" pitchFamily="34" charset="0"/>
                <a:cs typeface="Aparajita" panose="020B0502040204020203" pitchFamily="18" charset="0"/>
              </a:rPr>
              <a:t>Awareness &amp; Kultur</a:t>
            </a:r>
          </a:p>
          <a:p>
            <a:pPr>
              <a:lnSpc>
                <a:spcPts val="1200"/>
              </a:lnSpc>
              <a:spcAft>
                <a:spcPts val="1200"/>
              </a:spcAft>
            </a:pPr>
            <a:r>
              <a:rPr lang="de-AT" sz="1200" dirty="0">
                <a:solidFill>
                  <a:prstClr val="black"/>
                </a:solidFill>
                <a:latin typeface="Aptos" panose="020B0004020202020204" pitchFamily="34" charset="0"/>
                <a:cs typeface="Aparajita" panose="020B0502040204020203" pitchFamily="18" charset="0"/>
              </a:rPr>
              <a:t>Interkulturelle Unterschiede, lokale Arbeitsweisen und Sicherheitsstandards müssen erkannt und integriert werden. Globale Kampagnen für Bewusstsein und Schulung müssen diese Diversität berücksichtigen, um greifbar zu sein</a:t>
            </a:r>
            <a:r>
              <a:rPr lang="de-AT" sz="1200" b="0" i="0" dirty="0">
                <a:effectLst/>
                <a:latin typeface="Aptos" panose="020B0004020202020204" pitchFamily="34" charset="0"/>
                <a:cs typeface="Aparajita" panose="020B0502040204020203" pitchFamily="18" charset="0"/>
              </a:rPr>
              <a:t>.</a:t>
            </a:r>
            <a:endParaRPr lang="de-AT" sz="1200" dirty="0">
              <a:latin typeface="Aptos" panose="020B0004020202020204" pitchFamily="34" charset="0"/>
              <a:cs typeface="Aparajita" panose="020B0502040204020203" pitchFamily="18" charset="0"/>
            </a:endParaRPr>
          </a:p>
        </p:txBody>
      </p:sp>
      <p:grpSp>
        <p:nvGrpSpPr>
          <p:cNvPr id="5891" name="Group 759">
            <a:extLst>
              <a:ext uri="{FF2B5EF4-FFF2-40B4-BE49-F238E27FC236}">
                <a16:creationId xmlns:a16="http://schemas.microsoft.com/office/drawing/2014/main" id="{3851ED52-21A7-BBB0-2259-00342562961D}"/>
              </a:ext>
            </a:extLst>
          </p:cNvPr>
          <p:cNvGrpSpPr>
            <a:grpSpLocks noChangeAspect="1"/>
          </p:cNvGrpSpPr>
          <p:nvPr/>
        </p:nvGrpSpPr>
        <p:grpSpPr bwMode="auto">
          <a:xfrm>
            <a:off x="5537320" y="3014450"/>
            <a:ext cx="1115071" cy="1116000"/>
            <a:chOff x="2732" y="2698"/>
            <a:chExt cx="340" cy="340"/>
          </a:xfrm>
          <a:solidFill>
            <a:schemeClr val="accent2"/>
          </a:solidFill>
        </p:grpSpPr>
        <p:sp>
          <p:nvSpPr>
            <p:cNvPr id="5892" name="Freeform 760">
              <a:extLst>
                <a:ext uri="{FF2B5EF4-FFF2-40B4-BE49-F238E27FC236}">
                  <a16:creationId xmlns:a16="http://schemas.microsoft.com/office/drawing/2014/main" id="{89ED4629-01B2-E2E8-B09A-598BBDAFD1D9}"/>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D839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cs typeface="Aparajita" panose="020B0502040204020203" pitchFamily="18" charset="0"/>
              </a:endParaRPr>
            </a:p>
          </p:txBody>
        </p:sp>
        <p:sp>
          <p:nvSpPr>
            <p:cNvPr id="5893" name="Freeform 761">
              <a:extLst>
                <a:ext uri="{FF2B5EF4-FFF2-40B4-BE49-F238E27FC236}">
                  <a16:creationId xmlns:a16="http://schemas.microsoft.com/office/drawing/2014/main" id="{48E867AB-54DE-4675-2901-D4D8D864C4A3}"/>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rgbClr val="0D839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ptos" panose="020B0004020202020204" pitchFamily="34" charset="0"/>
                <a:cs typeface="Aparajita" panose="020B0502040204020203" pitchFamily="18" charset="0"/>
              </a:endParaRPr>
            </a:p>
          </p:txBody>
        </p:sp>
      </p:grpSp>
    </p:spTree>
    <p:extLst>
      <p:ext uri="{BB962C8B-B14F-4D97-AF65-F5344CB8AC3E}">
        <p14:creationId xmlns:p14="http://schemas.microsoft.com/office/powerpoint/2010/main" val="8160178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D41AA3D-AB17-44A3-B1FD-1121CE5DDE91}" vid="{FC435806-9A54-472F-8562-78CA776E769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f1b331d-2c83-4f44-a422-cae68ae5b250"/>
    <TaxKeywordTaxHTField xmlns="18c0d2f8-7877-49e9-b32f-a1d3ac53e3d4">
      <Terms xmlns="http://schemas.microsoft.com/office/infopath/2007/PartnerControls"/>
    </TaxKeywordTaxHTField>
  </documentManagement>
</p:properties>
</file>

<file path=customXml/item3.xml><?xml version="1.0" encoding="utf-8"?>
<TemplafySlideTemplateConfiguration><![CDATA[{"slideVersion":1,"isValidatorEnabled":false,"isLocked":false,"elementsMetadata":[],"slideId":"1044102718655561728","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slideVersion":1,"isValidatorEnabled":false,"isLocked":false,"elementsMetadata":[],"slideId":"1023762724148215821","enableDocumentContentUpdater":false,"version":"2.0"}]]></TemplafySlideTemplateConfiguration>
</file>

<file path=customXml/item7.xml><?xml version="1.0" encoding="utf-8"?>
<ct:contentTypeSchema xmlns:ct="http://schemas.microsoft.com/office/2006/metadata/contentType" xmlns:ma="http://schemas.microsoft.com/office/2006/metadata/properties/metaAttributes" ct:_="" ma:_="" ma:contentTypeName="Dokument" ma:contentTypeID="0x0101008013FC464FEF9E43A63BA6C47DA89F81" ma:contentTypeVersion="2" ma:contentTypeDescription="Ein neues Dokument erstellen." ma:contentTypeScope="" ma:versionID="65c320b6fe37f0855f7b0ca650f2cd29">
  <xsd:schema xmlns:xsd="http://www.w3.org/2001/XMLSchema" xmlns:xs="http://www.w3.org/2001/XMLSchema" xmlns:p="http://schemas.microsoft.com/office/2006/metadata/properties" xmlns:ns2="18c0d2f8-7877-49e9-b32f-a1d3ac53e3d4" xmlns:ns3="8f1b331d-2c83-4f44-a422-cae68ae5b250" xmlns:ns4="0da76748-131b-4f85-a173-3883db9c07a1" targetNamespace="http://schemas.microsoft.com/office/2006/metadata/properties" ma:root="true" ma:fieldsID="15e0fdb336b71bebc352f42522b68b86" ns2:_="" ns3:_="" ns4:_="">
    <xsd:import namespace="18c0d2f8-7877-49e9-b32f-a1d3ac53e3d4"/>
    <xsd:import namespace="8f1b331d-2c83-4f44-a422-cae68ae5b250"/>
    <xsd:import namespace="0da76748-131b-4f85-a173-3883db9c07a1"/>
    <xsd:element name="properties">
      <xsd:complexType>
        <xsd:sequence>
          <xsd:element name="documentManagement">
            <xsd:complexType>
              <xsd:all>
                <xsd:element ref="ns2:TaxKeywordTaxHTField" minOccurs="0"/>
                <xsd:element ref="ns3:TaxCatchAll"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c0d2f8-7877-49e9-b32f-a1d3ac53e3d4"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Unternehmensstichwörter" ma:fieldId="{23f27201-bee3-471e-b2e7-b64fd8b7ca38}" ma:taxonomyMulti="true" ma:sspId="17e6704d-a603-4ce3-81f5-ee53118f6b33"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1b331d-2c83-4f44-a422-cae68ae5b25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9fb85ae-4fb8-4695-8d7d-38e66e194134}" ma:internalName="TaxCatchAll" ma:showField="CatchAllData" ma:web="18c0d2f8-7877-49e9-b32f-a1d3ac53e3d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da76748-131b-4f85-a173-3883db9c07a1"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mso-contentType ?>
<SharedContentType xmlns="Microsoft.SharePoint.Taxonomy.ContentTypeSync" SourceId="cff0439b-19da-4279-b27a-772bc6e63f9d" ContentTypeId="0x01" PreviousValue="false"/>
</file>

<file path=customXml/itemProps1.xml><?xml version="1.0" encoding="utf-8"?>
<ds:datastoreItem xmlns:ds="http://schemas.openxmlformats.org/officeDocument/2006/customXml" ds:itemID="{E7A5C1E9-CA87-46A1-8E34-6AA0FD48E96A}">
  <ds:schemaRefs>
    <ds:schemaRef ds:uri="http://schemas.microsoft.com/sharepoint/v3/contenttype/forms"/>
  </ds:schemaRefs>
</ds:datastoreItem>
</file>

<file path=customXml/itemProps2.xml><?xml version="1.0" encoding="utf-8"?>
<ds:datastoreItem xmlns:ds="http://schemas.openxmlformats.org/officeDocument/2006/customXml" ds:itemID="{45B4684D-58A2-45AF-981C-377D03D9E809}">
  <ds:schemaRefs>
    <ds:schemaRef ds:uri="2284954f-9ae8-4e63-93c4-ad35e58f2b72"/>
    <ds:schemaRef ds:uri="http://schemas.microsoft.com/office/2006/metadata/properties"/>
    <ds:schemaRef ds:uri="http://www.w3.org/XML/1998/namespace"/>
    <ds:schemaRef ds:uri="26ef5c01-a877-479a-8a22-2014d4939bb2"/>
    <ds:schemaRef ds:uri="http://purl.org/dc/terms/"/>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86F659CA-E72C-456B-9AE3-9D8EF510EB96}">
  <ds:schemaRefs/>
</ds:datastoreItem>
</file>

<file path=customXml/itemProps4.xml><?xml version="1.0" encoding="utf-8"?>
<ds:datastoreItem xmlns:ds="http://schemas.openxmlformats.org/officeDocument/2006/customXml" ds:itemID="{A489FA1B-51F1-4DD3-BD25-BA30E5CFF974}">
  <ds:schemaRefs/>
</ds:datastoreItem>
</file>

<file path=customXml/itemProps5.xml><?xml version="1.0" encoding="utf-8"?>
<ds:datastoreItem xmlns:ds="http://schemas.openxmlformats.org/officeDocument/2006/customXml" ds:itemID="{DEFD9B60-A22B-4B4A-A896-FFA84B8FD95D}">
  <ds:schemaRefs/>
</ds:datastoreItem>
</file>

<file path=customXml/itemProps6.xml><?xml version="1.0" encoding="utf-8"?>
<ds:datastoreItem xmlns:ds="http://schemas.openxmlformats.org/officeDocument/2006/customXml" ds:itemID="{E9671340-F93F-4CE2-9A9A-81AE5F5FA93B}">
  <ds:schemaRefs/>
</ds:datastoreItem>
</file>

<file path=customXml/itemProps7.xml><?xml version="1.0" encoding="utf-8"?>
<ds:datastoreItem xmlns:ds="http://schemas.openxmlformats.org/officeDocument/2006/customXml" ds:itemID="{F965067D-7DFA-4C57-8EC3-62F278B0B7A8}"/>
</file>

<file path=customXml/itemProps8.xml><?xml version="1.0" encoding="utf-8"?>
<ds:datastoreItem xmlns:ds="http://schemas.openxmlformats.org/officeDocument/2006/customXml" ds:itemID="{AA089C10-501F-4116-AFAC-24F906E27CC1}"/>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1373</TotalTime>
  <Words>1373</Words>
  <Application>Microsoft Office PowerPoint</Application>
  <PresentationFormat>Widescreen</PresentationFormat>
  <Paragraphs>154</Paragraphs>
  <Slides>12</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4" baseType="lpstr">
      <vt:lpstr>-apple-system</vt:lpstr>
      <vt:lpstr>Aptos</vt:lpstr>
      <vt:lpstr>Arial</vt:lpstr>
      <vt:lpstr>Calibri</vt:lpstr>
      <vt:lpstr>Calibri Light</vt:lpstr>
      <vt:lpstr>Frutiger Next Pro Light</vt:lpstr>
      <vt:lpstr>Open Sans</vt:lpstr>
      <vt:lpstr>Open Sans Light</vt:lpstr>
      <vt:lpstr>Verdana</vt:lpstr>
      <vt:lpstr>Wingdings 2</vt:lpstr>
      <vt:lpstr>Deloitte Brand Theme</vt:lpstr>
      <vt:lpstr>think-cell Slide</vt:lpstr>
      <vt:lpstr>  Transformation durch Vertrauen: Der Mensch als Schlüssel zu IT- und OT-Security</vt:lpstr>
      <vt:lpstr>Wir freuen uns auf den heutigen Vortrag</vt:lpstr>
      <vt:lpstr>Kontext &amp; Relevanz</vt:lpstr>
      <vt:lpstr>Was ist OT?</vt:lpstr>
      <vt:lpstr>Was ist der Unterschied zwischen OT- und IT-Security?</vt:lpstr>
      <vt:lpstr>Größte OT-Security Herausforderungen</vt:lpstr>
      <vt:lpstr>Kulturelle Herausforderungen in Enterprise Unternehmen</vt:lpstr>
      <vt:lpstr>Finanzieller Druck</vt:lpstr>
      <vt:lpstr>Der menschliche Faktor als Schlüssel</vt:lpstr>
      <vt:lpstr>Der Weg zur resilienten Sicherheitskultur</vt:lpstr>
      <vt:lpstr>Fragen &amp; Disku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Demirtas, Ilyas</cp:lastModifiedBy>
  <cp:revision>1</cp:revision>
  <dcterms:created xsi:type="dcterms:W3CDTF">2025-09-01T13:53:23Z</dcterms:created>
  <dcterms:modified xsi:type="dcterms:W3CDTF">2025-09-29T13:2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13FC464FEF9E43A63BA6C47DA89F81</vt:lpwstr>
  </property>
  <property fmtid="{D5CDD505-2E9C-101B-9397-08002B2CF9AE}" pid="3" name="MediaServiceImageTags">
    <vt:lpwstr/>
  </property>
  <property fmtid="{D5CDD505-2E9C-101B-9397-08002B2CF9AE}" pid="4" name="TaxKeyword">
    <vt:lpwstr/>
  </property>
</Properties>
</file>